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4.xml" ContentType="application/vnd.openxmlformats-officedocument.them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6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74.xml" ContentType="application/vnd.openxmlformats-officedocument.presentationml.tags+xml"/>
  <Override PartName="/ppt/notesSlides/notesSlide1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19" r:id="rId2"/>
    <p:sldMasterId id="2147483734" r:id="rId3"/>
    <p:sldMasterId id="2147483828" r:id="rId4"/>
    <p:sldMasterId id="2147483868" r:id="rId5"/>
    <p:sldMasterId id="2147483769" r:id="rId6"/>
  </p:sldMasterIdLst>
  <p:notesMasterIdLst>
    <p:notesMasterId r:id="rId11"/>
  </p:notesMasterIdLst>
  <p:handoutMasterIdLst>
    <p:handoutMasterId r:id="rId12"/>
  </p:handoutMasterIdLst>
  <p:sldIdLst>
    <p:sldId id="333" r:id="rId7"/>
    <p:sldId id="346" r:id="rId8"/>
    <p:sldId id="344" r:id="rId9"/>
    <p:sldId id="345" r:id="rId10"/>
  </p:sldIdLst>
  <p:sldSz cx="12192000" cy="6858000"/>
  <p:notesSz cx="6858000" cy="9144000"/>
  <p:custDataLst>
    <p:tags r:id="rId13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6085" userDrawn="1">
          <p15:clr>
            <a:srgbClr val="A4A3A4"/>
          </p15:clr>
        </p15:guide>
        <p15:guide id="2" pos="3591" userDrawn="1">
          <p15:clr>
            <a:srgbClr val="A4A3A4"/>
          </p15:clr>
        </p15:guide>
        <p15:guide id="3" pos="506" userDrawn="1">
          <p15:clr>
            <a:srgbClr val="A4A3A4"/>
          </p15:clr>
        </p15:guide>
        <p15:guide id="4" pos="892" userDrawn="1">
          <p15:clr>
            <a:srgbClr val="A4A3A4"/>
          </p15:clr>
        </p15:guide>
        <p15:guide id="5" orient="horz" pos="2228" userDrawn="1">
          <p15:clr>
            <a:srgbClr val="A4A3A4"/>
          </p15:clr>
        </p15:guide>
        <p15:guide id="6" orient="horz" pos="19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CDDE"/>
    <a:srgbClr val="D7CDF2"/>
    <a:srgbClr val="ACB9FA"/>
    <a:srgbClr val="BEC2F8"/>
    <a:srgbClr val="EBCDDB"/>
    <a:srgbClr val="798EFB"/>
    <a:srgbClr val="E6E5FD"/>
    <a:srgbClr val="DFDFDF"/>
    <a:srgbClr val="E2E2E2"/>
    <a:srgbClr val="CCCC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85" autoAdjust="0"/>
    <p:restoredTop sz="95144" autoAdjust="0"/>
  </p:normalViewPr>
  <p:slideViewPr>
    <p:cSldViewPr snapToGrid="0" snapToObjects="1" showGuides="1">
      <p:cViewPr varScale="1">
        <p:scale>
          <a:sx n="109" d="100"/>
          <a:sy n="109" d="100"/>
        </p:scale>
        <p:origin x="552" y="102"/>
      </p:cViewPr>
      <p:guideLst>
        <p:guide pos="6085"/>
        <p:guide pos="3591"/>
        <p:guide pos="506"/>
        <p:guide pos="892"/>
        <p:guide orient="horz" pos="2228"/>
        <p:guide orient="horz" pos="191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napToObjects="1" showGuides="1">
      <p:cViewPr varScale="1">
        <p:scale>
          <a:sx n="124" d="100"/>
          <a:sy n="124" d="100"/>
        </p:scale>
        <p:origin x="438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tags" Target="tags/tag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viewProps" Target="viewProps.xml"/><Relationship Id="rId10" Type="http://schemas.openxmlformats.org/officeDocument/2006/relationships/slide" Target="slides/slide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3" Type="http://schemas.openxmlformats.org/officeDocument/2006/relationships/image" Target="../media/image10.wmf"/><Relationship Id="rId2" Type="http://schemas.openxmlformats.org/officeDocument/2006/relationships/image" Target="../media/image9.wmf"/><Relationship Id="rId1" Type="http://schemas.openxmlformats.org/officeDocument/2006/relationships/image" Target="../media/image8.emf"/></Relationships>
</file>

<file path=ppt/drawings/_rels/vmlDrawing75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.wmf"/><Relationship Id="rId1" Type="http://schemas.openxmlformats.org/officeDocument/2006/relationships/image" Target="../media/image8.emf"/></Relationships>
</file>

<file path=ppt/drawings/_rels/vmlDrawing76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046E4C57-596B-3181-855C-4FDBAB749ED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D37C6BF4-F539-F9B6-01D6-6D1C932567E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71AE8F-B46D-45E6-97C7-9B9409BF2B22}" type="datetimeFigureOut">
              <a:rPr lang="ru-RU" smtClean="0"/>
              <a:t>20.05.2024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48104822-80CB-355E-3EC6-6A97C0D145E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4E7ED9F8-68B5-964C-127F-4102D7724BF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BA626F-F305-421C-A759-1D9E6B84FC8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7904184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63B825-89C0-442D-8F37-EF69CE3A22AF}" type="datetimeFigureOut">
              <a:rPr lang="ru-RU" smtClean="0"/>
              <a:t>20.05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AC92FF-04E5-4B5F-9093-D30107438CE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98261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C92FF-04E5-4B5F-9093-D30107438CE0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91828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sv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sv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sv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sv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svg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svg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svg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svg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svg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3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svg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svg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svg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svg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3.sv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1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3.svg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3.svg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3.sv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3.svg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svg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svg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svg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svg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Relationship Id="rId9" Type="http://schemas.openxmlformats.org/officeDocument/2006/relationships/image" Target="../media/image3.svg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svg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Relationship Id="rId9" Type="http://schemas.openxmlformats.org/officeDocument/2006/relationships/image" Target="../media/image3.svg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svg"/><Relationship Id="rId2" Type="http://schemas.openxmlformats.org/officeDocument/2006/relationships/tags" Target="../tags/tag73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Relationship Id="rId9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sv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sv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презентац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844CC7F9-0B0E-4524-A46D-059C391596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8422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5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844CC7F9-0B0E-4524-A46D-059C391596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6053A469-F85F-40FE-A4E5-921D9078D90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MTS LOGO COVER.pdf" descr="MTS LOGO COVER.pdf">
            <a:extLst>
              <a:ext uri="{FF2B5EF4-FFF2-40B4-BE49-F238E27FC236}">
                <a16:creationId xmlns:a16="http://schemas.microsoft.com/office/drawing/2014/main" id="{6DA0FDCA-414D-5822-A411-BEF14DE8AC4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91344" y="175056"/>
            <a:ext cx="11808978" cy="6494304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4C05F570-5B6D-F90E-0959-F4F689703E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136" y="4836588"/>
            <a:ext cx="9113921" cy="1661993"/>
          </a:xfrm>
        </p:spPr>
        <p:txBody>
          <a:bodyPr vert="horz" anchor="b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32434996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 №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4ABFE79C-745A-47DB-88BF-67D1697CCF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099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1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4ABFE79C-745A-47DB-88BF-67D1697CCF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0F017BC7-FA9D-4951-AF87-76DA4B31084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80E7EC6A-2011-60DE-6274-F3F65EF4E9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6596" y="480264"/>
            <a:ext cx="11074224" cy="1658565"/>
          </a:xfrm>
        </p:spPr>
        <p:txBody>
          <a:bodyPr vert="horz" anchor="t"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раздела</a:t>
            </a:r>
          </a:p>
        </p:txBody>
      </p:sp>
    </p:spTree>
    <p:extLst>
      <p:ext uri="{BB962C8B-B14F-4D97-AF65-F5344CB8AC3E}">
        <p14:creationId xmlns:p14="http://schemas.microsoft.com/office/powerpoint/2010/main" val="11967939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 + цифра №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F052D432-129D-4928-BA77-967EF963BB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1639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5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F052D432-129D-4928-BA77-967EF963BB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AB6A970A-F64F-446D-A80C-2C4D23AA7A0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Текст 6">
            <a:extLst>
              <a:ext uri="{FF2B5EF4-FFF2-40B4-BE49-F238E27FC236}">
                <a16:creationId xmlns:a16="http://schemas.microsoft.com/office/drawing/2014/main" id="{A9E46C61-95AB-9FA2-2900-81D066CC37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501" y="5068845"/>
            <a:ext cx="2808287" cy="1295400"/>
          </a:xfrm>
        </p:spPr>
        <p:txBody>
          <a:bodyPr>
            <a:noAutofit/>
          </a:bodyPr>
          <a:lstStyle>
            <a:lvl1pPr marL="0" indent="0">
              <a:buNone/>
              <a:defRPr sz="115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E78C421-FDCF-62A5-4BD7-5C5B5DBE5B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6596" y="480264"/>
            <a:ext cx="11074224" cy="1658565"/>
          </a:xfrm>
        </p:spPr>
        <p:txBody>
          <a:bodyPr vert="horz" anchor="t"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раздела</a:t>
            </a:r>
          </a:p>
        </p:txBody>
      </p:sp>
    </p:spTree>
    <p:extLst>
      <p:ext uri="{BB962C8B-B14F-4D97-AF65-F5344CB8AC3E}">
        <p14:creationId xmlns:p14="http://schemas.microsoft.com/office/powerpoint/2010/main" val="1487344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 + о чем раздел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F052D432-129D-4928-BA77-967EF963BB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7683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9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F052D432-129D-4928-BA77-967EF963BB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F9C526E-FE9F-480D-A90F-141C17EB5E4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Текст 5">
            <a:extLst>
              <a:ext uri="{FF2B5EF4-FFF2-40B4-BE49-F238E27FC236}">
                <a16:creationId xmlns:a16="http://schemas.microsoft.com/office/drawing/2014/main" id="{62BC5238-8A4B-2762-315A-3E9F03300C0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2564904"/>
            <a:ext cx="5545138" cy="3743820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 чем раздел</a:t>
            </a:r>
          </a:p>
          <a:p>
            <a:pPr lvl="0"/>
            <a:r>
              <a:rPr lang="ru-RU" dirty="0"/>
              <a:t>О чем раздел</a:t>
            </a:r>
          </a:p>
        </p:txBody>
      </p:sp>
      <p:sp>
        <p:nvSpPr>
          <p:cNvPr id="5" name="Текст 6">
            <a:extLst>
              <a:ext uri="{FF2B5EF4-FFF2-40B4-BE49-F238E27FC236}">
                <a16:creationId xmlns:a16="http://schemas.microsoft.com/office/drawing/2014/main" id="{26B014F5-2FD7-D552-55AE-836330F17C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501" y="5068845"/>
            <a:ext cx="2808287" cy="1295400"/>
          </a:xfrm>
        </p:spPr>
        <p:txBody>
          <a:bodyPr>
            <a:noAutofit/>
          </a:bodyPr>
          <a:lstStyle>
            <a:lvl1pPr marL="0" indent="0">
              <a:buNone/>
              <a:defRPr sz="115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46D7AD3-7F4C-5ADE-5296-F1FEF7C2D1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6596" y="480264"/>
            <a:ext cx="11074224" cy="1658565"/>
          </a:xfrm>
        </p:spPr>
        <p:txBody>
          <a:bodyPr vert="horz" anchor="t"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раздела</a:t>
            </a:r>
          </a:p>
        </p:txBody>
      </p:sp>
    </p:spTree>
    <p:extLst>
      <p:ext uri="{BB962C8B-B14F-4D97-AF65-F5344CB8AC3E}">
        <p14:creationId xmlns:p14="http://schemas.microsoft.com/office/powerpoint/2010/main" val="23760221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 + о чем раздел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F052D432-129D-4928-BA77-967EF963BB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863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3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F052D432-129D-4928-BA77-967EF963BB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7196A40F-9509-419D-B664-EA8AFE9178F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Текст 5">
            <a:extLst>
              <a:ext uri="{FF2B5EF4-FFF2-40B4-BE49-F238E27FC236}">
                <a16:creationId xmlns:a16="http://schemas.microsoft.com/office/drawing/2014/main" id="{62BC5238-8A4B-2762-315A-3E9F03300C0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88814" y="5068846"/>
            <a:ext cx="8208912" cy="1308890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 чем раздел, если пару пунктов</a:t>
            </a:r>
          </a:p>
          <a:p>
            <a:pPr lvl="0"/>
            <a:r>
              <a:rPr lang="ru-RU" dirty="0"/>
              <a:t>О чем раздел, если пару пунктов</a:t>
            </a:r>
          </a:p>
        </p:txBody>
      </p:sp>
      <p:sp>
        <p:nvSpPr>
          <p:cNvPr id="3" name="Текст 6">
            <a:extLst>
              <a:ext uri="{FF2B5EF4-FFF2-40B4-BE49-F238E27FC236}">
                <a16:creationId xmlns:a16="http://schemas.microsoft.com/office/drawing/2014/main" id="{C6CF6C73-A592-3439-415E-598E2A6AFF0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501" y="5068845"/>
            <a:ext cx="2808287" cy="1295400"/>
          </a:xfrm>
        </p:spPr>
        <p:txBody>
          <a:bodyPr>
            <a:noAutofit/>
          </a:bodyPr>
          <a:lstStyle>
            <a:lvl1pPr marL="0" indent="0">
              <a:buNone/>
              <a:defRPr sz="115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79B47CA-19A4-8633-6EF1-9175904EA05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6596" y="480264"/>
            <a:ext cx="11074224" cy="1658565"/>
          </a:xfrm>
        </p:spPr>
        <p:txBody>
          <a:bodyPr vert="horz" anchor="t"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раздела</a:t>
            </a:r>
          </a:p>
        </p:txBody>
      </p:sp>
    </p:spTree>
    <p:extLst>
      <p:ext uri="{BB962C8B-B14F-4D97-AF65-F5344CB8AC3E}">
        <p14:creationId xmlns:p14="http://schemas.microsoft.com/office/powerpoint/2010/main" val="9469753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Крупный заголовок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BDF1A56A-82D7-430E-A128-79AA419161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3704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1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BDF1A56A-82D7-430E-A128-79AA419161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A62A712-A7C8-54D1-2110-61C9636E44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847970"/>
            <a:ext cx="9144000" cy="1661993"/>
          </a:xfrm>
        </p:spPr>
        <p:txBody>
          <a:bodyPr vert="horz" anchor="b"/>
          <a:lstStyle>
            <a:lvl1pPr algn="ctr">
              <a:defRPr sz="6000"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CB0C13CC-C32E-C249-436B-789C0DFB6D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332399"/>
          </a:xfrm>
        </p:spPr>
        <p:txBody>
          <a:bodyPr/>
          <a:lstStyle>
            <a:lvl1pPr marL="0" indent="0" algn="ctr">
              <a:buNone/>
              <a:defRPr sz="240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6997C46-00A6-D6D5-4CD2-EA4C9B08A3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84591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13489F32-876D-4097-BCAB-81B2D3A614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75760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85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 5">
            <a:extLst>
              <a:ext uri="{FF2B5EF4-FFF2-40B4-BE49-F238E27FC236}">
                <a16:creationId xmlns:a16="http://schemas.microsoft.com/office/drawing/2014/main" id="{2B4FBB60-CFAD-6F6B-842F-772431C35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404758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 без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76AFEB76-A412-4B44-A148-E9360D331F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1936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09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 5">
            <a:extLst>
              <a:ext uri="{FF2B5EF4-FFF2-40B4-BE49-F238E27FC236}">
                <a16:creationId xmlns:a16="http://schemas.microsoft.com/office/drawing/2014/main" id="{2B4FBB60-CFAD-6F6B-842F-772431C35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AB0D3A35-55D5-39B7-0D6B-F1EFAF21D131}"/>
              </a:ext>
            </a:extLst>
          </p:cNvPr>
          <p:cNvSpPr/>
          <p:nvPr userDrawn="1"/>
        </p:nvSpPr>
        <p:spPr>
          <a:xfrm>
            <a:off x="11178073" y="0"/>
            <a:ext cx="1013927" cy="81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58441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устой слайд без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10065DEA-AF24-49EE-8AF4-40E7A8917C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7988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33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 5">
            <a:extLst>
              <a:ext uri="{FF2B5EF4-FFF2-40B4-BE49-F238E27FC236}">
                <a16:creationId xmlns:a16="http://schemas.microsoft.com/office/drawing/2014/main" id="{2B4FBB60-CFAD-6F6B-842F-772431C35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AB0D3A35-55D5-39B7-0D6B-F1EFAF21D131}"/>
              </a:ext>
            </a:extLst>
          </p:cNvPr>
          <p:cNvSpPr/>
          <p:nvPr userDrawn="1"/>
        </p:nvSpPr>
        <p:spPr>
          <a:xfrm>
            <a:off x="11178073" y="0"/>
            <a:ext cx="1013927" cy="81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6723415D-902E-5E26-63C3-FB000A5D17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</p:spTree>
    <p:extLst>
      <p:ext uri="{BB962C8B-B14F-4D97-AF65-F5344CB8AC3E}">
        <p14:creationId xmlns:p14="http://schemas.microsoft.com/office/powerpoint/2010/main" val="33977216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в одну строк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4110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57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</p:spTree>
    <p:extLst>
      <p:ext uri="{BB962C8B-B14F-4D97-AF65-F5344CB8AC3E}">
        <p14:creationId xmlns:p14="http://schemas.microsoft.com/office/powerpoint/2010/main" val="34749555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в одну строку + снос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87C9920F-CE42-456C-9F8F-8888F00EF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8837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1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87C9920F-CE42-456C-9F8F-8888F00EF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BE47467B-4968-5135-C445-AB162E3DA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0CCB5637-7234-B557-537D-64B86A5DFB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601999-3797-3F1A-45B8-302D698865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</p:spTree>
    <p:extLst>
      <p:ext uri="{BB962C8B-B14F-4D97-AF65-F5344CB8AC3E}">
        <p14:creationId xmlns:p14="http://schemas.microsoft.com/office/powerpoint/2010/main" val="22926118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презентации+ФИ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1B0B2DD-518D-4337-B971-D5133088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8526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9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1B0B2DD-518D-4337-B971-D5133088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CF531A9B-BEAD-47E1-8218-931A9590BAF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MTS LOGO COVER.pdf" descr="MTS LOGO COVER.pdf">
            <a:extLst>
              <a:ext uri="{FF2B5EF4-FFF2-40B4-BE49-F238E27FC236}">
                <a16:creationId xmlns:a16="http://schemas.microsoft.com/office/drawing/2014/main" id="{F8D5B7DA-DAD6-02FE-225F-86131DD0D67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91344" y="175056"/>
            <a:ext cx="11808978" cy="6494304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Текст 10">
            <a:extLst>
              <a:ext uri="{FF2B5EF4-FFF2-40B4-BE49-F238E27FC236}">
                <a16:creationId xmlns:a16="http://schemas.microsoft.com/office/drawing/2014/main" id="{7007FE74-46CC-40C2-B34A-1F4BF1411F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2865" y="5636910"/>
            <a:ext cx="9115726" cy="431775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3" name="Текст 10">
            <a:extLst>
              <a:ext uri="{FF2B5EF4-FFF2-40B4-BE49-F238E27FC236}">
                <a16:creationId xmlns:a16="http://schemas.microsoft.com/office/drawing/2014/main" id="{AAE1B3E5-4BB6-4F87-AC6D-CB5E8324AF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0668" y="6058090"/>
            <a:ext cx="9115726" cy="296623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000" kern="12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42F96384-35DC-8C45-389F-32B50B3C068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136" y="2605726"/>
            <a:ext cx="9113921" cy="1661993"/>
          </a:xfrm>
        </p:spPr>
        <p:txBody>
          <a:bodyPr vert="horz" anchor="ctr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9704761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в одну строку +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87C9920F-CE42-456C-9F8F-8888F00EF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0228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05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87C9920F-CE42-456C-9F8F-8888F00EF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BE47467B-4968-5135-C445-AB162E3DA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0CCB5637-7234-B557-537D-64B86A5DFB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DEC646F9-F516-79DF-21D9-93AD8090FB4D}"/>
              </a:ext>
            </a:extLst>
          </p:cNvPr>
          <p:cNvSpPr/>
          <p:nvPr userDrawn="1"/>
        </p:nvSpPr>
        <p:spPr>
          <a:xfrm>
            <a:off x="11423650" y="0"/>
            <a:ext cx="768350" cy="768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pic>
        <p:nvPicPr>
          <p:cNvPr id="2" name="Group 1321315093.pdf" descr="Group 1321315093.pdf">
            <a:extLst>
              <a:ext uri="{FF2B5EF4-FFF2-40B4-BE49-F238E27FC236}">
                <a16:creationId xmlns:a16="http://schemas.microsoft.com/office/drawing/2014/main" id="{4A31C02F-CB5E-15FD-F798-046C1119EFB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 l="92852" b="87132"/>
          <a:stretch>
            <a:fillRect/>
          </a:stretch>
        </p:blipFill>
        <p:spPr>
          <a:xfrm>
            <a:off x="11314445" y="-927"/>
            <a:ext cx="877556" cy="888664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90D6D1FD-0A19-32F8-EA1D-0EEC88A5AF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BF4196C7-B64E-4A6F-054A-143D3DA9C752}"/>
              </a:ext>
            </a:extLst>
          </p:cNvPr>
          <p:cNvSpPr/>
          <p:nvPr userDrawn="1"/>
        </p:nvSpPr>
        <p:spPr>
          <a:xfrm>
            <a:off x="3176" y="6469625"/>
            <a:ext cx="385200" cy="3852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endParaRPr lang="ru-RU" sz="1050" dirty="0">
              <a:solidFill>
                <a:schemeClr val="tx1"/>
              </a:solidFill>
              <a:ea typeface="MTS Text" panose="020B0306020102020303" pitchFamily="34" charset="0"/>
            </a:endParaRPr>
          </a:p>
        </p:txBody>
      </p:sp>
      <p:sp>
        <p:nvSpPr>
          <p:cNvPr id="11" name="Рисунок 10">
            <a:extLst>
              <a:ext uri="{FF2B5EF4-FFF2-40B4-BE49-F238E27FC236}">
                <a16:creationId xmlns:a16="http://schemas.microsoft.com/office/drawing/2014/main" id="{2A2FBFB1-AA79-BE0C-634F-309AA0EA528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545" y="6472800"/>
            <a:ext cx="385200" cy="385200"/>
          </a:xfrm>
        </p:spPr>
        <p:txBody>
          <a:bodyPr anchor="ctr">
            <a:noAutofit/>
          </a:bodyPr>
          <a:lstStyle>
            <a:lvl1pPr marL="0" indent="0" algn="ctr">
              <a:buNone/>
              <a:defRPr sz="700"/>
            </a:lvl1pPr>
          </a:lstStyle>
          <a:p>
            <a:r>
              <a:rPr lang="ru-RU" dirty="0"/>
              <a:t>Лого</a:t>
            </a:r>
          </a:p>
        </p:txBody>
      </p:sp>
    </p:spTree>
    <p:extLst>
      <p:ext uri="{BB962C8B-B14F-4D97-AF65-F5344CB8AC3E}">
        <p14:creationId xmlns:p14="http://schemas.microsoft.com/office/powerpoint/2010/main" val="22272374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197">
          <p15:clr>
            <a:srgbClr val="FBAE40"/>
          </p15:clr>
        </p15:guide>
        <p15:guide id="3" orient="horz" pos="48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в две стро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0B4C4E88-6F36-4A30-99AB-5CAF0F9A5E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8595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29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0B4C4E88-6F36-4A30-99AB-5CAF0F9A5E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9F551AD5-7305-A1BB-74A4-26FA5E93AB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26284E56-B062-296F-8C7A-B4D5F1C719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122" y="512989"/>
            <a:ext cx="10515600" cy="775597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две строки</a:t>
            </a:r>
            <a:br>
              <a:rPr lang="ru-RU" dirty="0"/>
            </a:br>
            <a:r>
              <a:rPr lang="ru-RU" dirty="0"/>
              <a:t>Заголовок в две строки</a:t>
            </a:r>
          </a:p>
        </p:txBody>
      </p:sp>
      <p:sp>
        <p:nvSpPr>
          <p:cNvPr id="2" name="Текст 7">
            <a:extLst>
              <a:ext uri="{FF2B5EF4-FFF2-40B4-BE49-F238E27FC236}">
                <a16:creationId xmlns:a16="http://schemas.microsoft.com/office/drawing/2014/main" id="{3F527D69-5E63-8392-5107-938852381D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</p:spTree>
    <p:extLst>
      <p:ext uri="{BB962C8B-B14F-4D97-AF65-F5344CB8AC3E}">
        <p14:creationId xmlns:p14="http://schemas.microsoft.com/office/powerpoint/2010/main" val="337786153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к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8035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53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Рисунок 8">
            <a:extLst>
              <a:ext uri="{FF2B5EF4-FFF2-40B4-BE49-F238E27FC236}">
                <a16:creationId xmlns:a16="http://schemas.microsoft.com/office/drawing/2014/main" id="{56A18E5E-0FD6-419E-A863-C40D943C6EA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50864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0" name="Рисунок 8">
            <a:extLst>
              <a:ext uri="{FF2B5EF4-FFF2-40B4-BE49-F238E27FC236}">
                <a16:creationId xmlns:a16="http://schemas.microsoft.com/office/drawing/2014/main" id="{7B69F084-725C-3EFB-A547-3FC823EB756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706035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1" name="Рисунок 8">
            <a:extLst>
              <a:ext uri="{FF2B5EF4-FFF2-40B4-BE49-F238E27FC236}">
                <a16:creationId xmlns:a16="http://schemas.microsoft.com/office/drawing/2014/main" id="{215E3ECD-5D54-89CE-89BF-DEAEF8DED18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861206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2" name="Рисунок 8">
            <a:extLst>
              <a:ext uri="{FF2B5EF4-FFF2-40B4-BE49-F238E27FC236}">
                <a16:creationId xmlns:a16="http://schemas.microsoft.com/office/drawing/2014/main" id="{C085E88D-4B42-51C3-4F61-674A01BB933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16377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3" name="Рисунок 8">
            <a:extLst>
              <a:ext uri="{FF2B5EF4-FFF2-40B4-BE49-F238E27FC236}">
                <a16:creationId xmlns:a16="http://schemas.microsoft.com/office/drawing/2014/main" id="{7DFCE57B-06D9-8C9C-B134-963EC12ED2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171548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4" name="Рисунок 8">
            <a:extLst>
              <a:ext uri="{FF2B5EF4-FFF2-40B4-BE49-F238E27FC236}">
                <a16:creationId xmlns:a16="http://schemas.microsoft.com/office/drawing/2014/main" id="{E5CDCE52-4C2C-D071-2E67-D14F2ACC93D4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326719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5" name="Рисунок 8">
            <a:extLst>
              <a:ext uri="{FF2B5EF4-FFF2-40B4-BE49-F238E27FC236}">
                <a16:creationId xmlns:a16="http://schemas.microsoft.com/office/drawing/2014/main" id="{356B7B55-3EDE-3F3B-86D4-27A0D89D93F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481890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6" name="Рисунок 8">
            <a:extLst>
              <a:ext uri="{FF2B5EF4-FFF2-40B4-BE49-F238E27FC236}">
                <a16:creationId xmlns:a16="http://schemas.microsoft.com/office/drawing/2014/main" id="{2844796A-43D5-C810-8936-05E108D1B26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637061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7" name="Рисунок 8">
            <a:extLst>
              <a:ext uri="{FF2B5EF4-FFF2-40B4-BE49-F238E27FC236}">
                <a16:creationId xmlns:a16="http://schemas.microsoft.com/office/drawing/2014/main" id="{D7526B73-F34B-D66E-8304-BE3357FA593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792232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8" name="Рисунок 8">
            <a:extLst>
              <a:ext uri="{FF2B5EF4-FFF2-40B4-BE49-F238E27FC236}">
                <a16:creationId xmlns:a16="http://schemas.microsoft.com/office/drawing/2014/main" id="{45DBA1C6-BE1A-8724-392B-ACA1EC3F16B8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0947401" y="1268761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9" name="Рисунок 8">
            <a:extLst>
              <a:ext uri="{FF2B5EF4-FFF2-40B4-BE49-F238E27FC236}">
                <a16:creationId xmlns:a16="http://schemas.microsoft.com/office/drawing/2014/main" id="{1E0BE8D1-3983-276B-2BBE-6FA1D67AB127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50864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0" name="Рисунок 8">
            <a:extLst>
              <a:ext uri="{FF2B5EF4-FFF2-40B4-BE49-F238E27FC236}">
                <a16:creationId xmlns:a16="http://schemas.microsoft.com/office/drawing/2014/main" id="{BF2492F4-B812-50FF-B1F8-59999A34BA42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706035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1" name="Рисунок 8">
            <a:extLst>
              <a:ext uri="{FF2B5EF4-FFF2-40B4-BE49-F238E27FC236}">
                <a16:creationId xmlns:a16="http://schemas.microsoft.com/office/drawing/2014/main" id="{FA14C00D-4148-32F6-6B16-AED695E297A3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2861206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2" name="Рисунок 8">
            <a:extLst>
              <a:ext uri="{FF2B5EF4-FFF2-40B4-BE49-F238E27FC236}">
                <a16:creationId xmlns:a16="http://schemas.microsoft.com/office/drawing/2014/main" id="{AFDD72D6-D4A3-2995-AB32-06D571BFAB05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016377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3" name="Рисунок 8">
            <a:extLst>
              <a:ext uri="{FF2B5EF4-FFF2-40B4-BE49-F238E27FC236}">
                <a16:creationId xmlns:a16="http://schemas.microsoft.com/office/drawing/2014/main" id="{94BE46E9-BC32-689E-C9B4-9221877CB46A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5171548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4" name="Рисунок 8">
            <a:extLst>
              <a:ext uri="{FF2B5EF4-FFF2-40B4-BE49-F238E27FC236}">
                <a16:creationId xmlns:a16="http://schemas.microsoft.com/office/drawing/2014/main" id="{E00FA030-6C39-C06D-F42D-D08FDB80056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326719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5" name="Рисунок 8">
            <a:extLst>
              <a:ext uri="{FF2B5EF4-FFF2-40B4-BE49-F238E27FC236}">
                <a16:creationId xmlns:a16="http://schemas.microsoft.com/office/drawing/2014/main" id="{EBB6A202-4B6D-BEFB-7FF8-5624C075AAC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7481890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6" name="Рисунок 8">
            <a:extLst>
              <a:ext uri="{FF2B5EF4-FFF2-40B4-BE49-F238E27FC236}">
                <a16:creationId xmlns:a16="http://schemas.microsoft.com/office/drawing/2014/main" id="{D02E37FB-B1C6-2BC9-5BC4-A0FB541BC2B0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8637061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7" name="Рисунок 8">
            <a:extLst>
              <a:ext uri="{FF2B5EF4-FFF2-40B4-BE49-F238E27FC236}">
                <a16:creationId xmlns:a16="http://schemas.microsoft.com/office/drawing/2014/main" id="{48880384-7F33-854F-CA54-C6A0F3B0BB80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9792232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8" name="Рисунок 8">
            <a:extLst>
              <a:ext uri="{FF2B5EF4-FFF2-40B4-BE49-F238E27FC236}">
                <a16:creationId xmlns:a16="http://schemas.microsoft.com/office/drawing/2014/main" id="{81970332-8D30-8044-5EC0-0A46FFA5E2A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10947401" y="2312207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9" name="Рисунок 8">
            <a:extLst>
              <a:ext uri="{FF2B5EF4-FFF2-40B4-BE49-F238E27FC236}">
                <a16:creationId xmlns:a16="http://schemas.microsoft.com/office/drawing/2014/main" id="{5711F0F7-4A54-D68E-8779-A054C51BC01E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550864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0" name="Рисунок 8">
            <a:extLst>
              <a:ext uri="{FF2B5EF4-FFF2-40B4-BE49-F238E27FC236}">
                <a16:creationId xmlns:a16="http://schemas.microsoft.com/office/drawing/2014/main" id="{DF819F02-97EC-4180-B209-1335EA892A35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706035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1" name="Рисунок 8">
            <a:extLst>
              <a:ext uri="{FF2B5EF4-FFF2-40B4-BE49-F238E27FC236}">
                <a16:creationId xmlns:a16="http://schemas.microsoft.com/office/drawing/2014/main" id="{4785946E-592A-74EC-EFAF-774DF8B1683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2861206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2" name="Рисунок 8">
            <a:extLst>
              <a:ext uri="{FF2B5EF4-FFF2-40B4-BE49-F238E27FC236}">
                <a16:creationId xmlns:a16="http://schemas.microsoft.com/office/drawing/2014/main" id="{DF6EA332-4A5E-118B-0CEB-D17E1ABB07D4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4016377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3" name="Рисунок 8">
            <a:extLst>
              <a:ext uri="{FF2B5EF4-FFF2-40B4-BE49-F238E27FC236}">
                <a16:creationId xmlns:a16="http://schemas.microsoft.com/office/drawing/2014/main" id="{16E589B2-6D4E-1208-6CFA-3947005D914B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5171548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4" name="Рисунок 8">
            <a:extLst>
              <a:ext uri="{FF2B5EF4-FFF2-40B4-BE49-F238E27FC236}">
                <a16:creationId xmlns:a16="http://schemas.microsoft.com/office/drawing/2014/main" id="{16649CC8-2265-F220-11FA-6CA515E820B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6326719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5" name="Рисунок 8">
            <a:extLst>
              <a:ext uri="{FF2B5EF4-FFF2-40B4-BE49-F238E27FC236}">
                <a16:creationId xmlns:a16="http://schemas.microsoft.com/office/drawing/2014/main" id="{F64A3506-A4C3-DBE8-0A4C-FEFF7D2F412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7481890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6" name="Рисунок 8">
            <a:extLst>
              <a:ext uri="{FF2B5EF4-FFF2-40B4-BE49-F238E27FC236}">
                <a16:creationId xmlns:a16="http://schemas.microsoft.com/office/drawing/2014/main" id="{35911DE0-7839-C2C1-C892-4DEB10E8063A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8637061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7" name="Рисунок 8">
            <a:extLst>
              <a:ext uri="{FF2B5EF4-FFF2-40B4-BE49-F238E27FC236}">
                <a16:creationId xmlns:a16="http://schemas.microsoft.com/office/drawing/2014/main" id="{540ED50B-7F84-E43C-4DAD-9EAFA9E6C008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9792232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8" name="Рисунок 8">
            <a:extLst>
              <a:ext uri="{FF2B5EF4-FFF2-40B4-BE49-F238E27FC236}">
                <a16:creationId xmlns:a16="http://schemas.microsoft.com/office/drawing/2014/main" id="{3742E6AC-2802-0C88-97AC-EA4A4AE6EFF8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10947401" y="3355653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9" name="Рисунок 8">
            <a:extLst>
              <a:ext uri="{FF2B5EF4-FFF2-40B4-BE49-F238E27FC236}">
                <a16:creationId xmlns:a16="http://schemas.microsoft.com/office/drawing/2014/main" id="{A95552EE-5851-FEEE-04CE-930DD16CD1FC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50864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0" name="Рисунок 8">
            <a:extLst>
              <a:ext uri="{FF2B5EF4-FFF2-40B4-BE49-F238E27FC236}">
                <a16:creationId xmlns:a16="http://schemas.microsoft.com/office/drawing/2014/main" id="{2121EBCE-F843-2A78-0407-1BF1D7F994B7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706035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1" name="Рисунок 8">
            <a:extLst>
              <a:ext uri="{FF2B5EF4-FFF2-40B4-BE49-F238E27FC236}">
                <a16:creationId xmlns:a16="http://schemas.microsoft.com/office/drawing/2014/main" id="{04C660C0-D3D1-CD13-0613-3197D2922751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2861206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2" name="Рисунок 8">
            <a:extLst>
              <a:ext uri="{FF2B5EF4-FFF2-40B4-BE49-F238E27FC236}">
                <a16:creationId xmlns:a16="http://schemas.microsoft.com/office/drawing/2014/main" id="{F843C80F-7739-CEEA-4BE8-0B28ADEC1480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4016377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3" name="Рисунок 8">
            <a:extLst>
              <a:ext uri="{FF2B5EF4-FFF2-40B4-BE49-F238E27FC236}">
                <a16:creationId xmlns:a16="http://schemas.microsoft.com/office/drawing/2014/main" id="{0B069CDA-7743-2E81-29D9-89F29254B9A7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5171548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4" name="Рисунок 8">
            <a:extLst>
              <a:ext uri="{FF2B5EF4-FFF2-40B4-BE49-F238E27FC236}">
                <a16:creationId xmlns:a16="http://schemas.microsoft.com/office/drawing/2014/main" id="{E874E877-D398-E4EC-A6E6-FB6DEA6F2567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6326719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5" name="Рисунок 8">
            <a:extLst>
              <a:ext uri="{FF2B5EF4-FFF2-40B4-BE49-F238E27FC236}">
                <a16:creationId xmlns:a16="http://schemas.microsoft.com/office/drawing/2014/main" id="{1D0FA789-0864-A9F7-77A0-218F2106C0EB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7481890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6" name="Рисунок 8">
            <a:extLst>
              <a:ext uri="{FF2B5EF4-FFF2-40B4-BE49-F238E27FC236}">
                <a16:creationId xmlns:a16="http://schemas.microsoft.com/office/drawing/2014/main" id="{8799DD51-DC58-3A07-67B0-62CB8B299777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637061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7" name="Рисунок 8">
            <a:extLst>
              <a:ext uri="{FF2B5EF4-FFF2-40B4-BE49-F238E27FC236}">
                <a16:creationId xmlns:a16="http://schemas.microsoft.com/office/drawing/2014/main" id="{49F47481-2E7A-386C-D44F-E60FF7F65696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9792232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8" name="Рисунок 8">
            <a:extLst>
              <a:ext uri="{FF2B5EF4-FFF2-40B4-BE49-F238E27FC236}">
                <a16:creationId xmlns:a16="http://schemas.microsoft.com/office/drawing/2014/main" id="{4C89F8B1-0700-3C43-B931-67C9915BA66C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10947401" y="5442546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9" name="Рисунок 8">
            <a:extLst>
              <a:ext uri="{FF2B5EF4-FFF2-40B4-BE49-F238E27FC236}">
                <a16:creationId xmlns:a16="http://schemas.microsoft.com/office/drawing/2014/main" id="{BCC6F1CC-9527-90F1-7436-51A0B243D9B0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550864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0" name="Рисунок 8">
            <a:extLst>
              <a:ext uri="{FF2B5EF4-FFF2-40B4-BE49-F238E27FC236}">
                <a16:creationId xmlns:a16="http://schemas.microsoft.com/office/drawing/2014/main" id="{21F08A40-DF19-B75F-CBEA-E142BA5775D2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1706035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1" name="Рисунок 8">
            <a:extLst>
              <a:ext uri="{FF2B5EF4-FFF2-40B4-BE49-F238E27FC236}">
                <a16:creationId xmlns:a16="http://schemas.microsoft.com/office/drawing/2014/main" id="{6C8F04E1-9812-8FFD-D516-B622601DF0BD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2861206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2" name="Рисунок 8">
            <a:extLst>
              <a:ext uri="{FF2B5EF4-FFF2-40B4-BE49-F238E27FC236}">
                <a16:creationId xmlns:a16="http://schemas.microsoft.com/office/drawing/2014/main" id="{BBF35FC6-F2F9-6F8F-E4F6-8BCE9FF5C10A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4016377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3" name="Рисунок 8">
            <a:extLst>
              <a:ext uri="{FF2B5EF4-FFF2-40B4-BE49-F238E27FC236}">
                <a16:creationId xmlns:a16="http://schemas.microsoft.com/office/drawing/2014/main" id="{E71B395B-E93B-19F0-8734-97455073BBC1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5171548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4" name="Рисунок 8">
            <a:extLst>
              <a:ext uri="{FF2B5EF4-FFF2-40B4-BE49-F238E27FC236}">
                <a16:creationId xmlns:a16="http://schemas.microsoft.com/office/drawing/2014/main" id="{76125080-2116-E20A-392A-DA6ADF83C038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6326719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5" name="Рисунок 8">
            <a:extLst>
              <a:ext uri="{FF2B5EF4-FFF2-40B4-BE49-F238E27FC236}">
                <a16:creationId xmlns:a16="http://schemas.microsoft.com/office/drawing/2014/main" id="{E78A0CFC-5804-1B41-A1D1-F11D2148CFFD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7481890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6" name="Рисунок 8">
            <a:extLst>
              <a:ext uri="{FF2B5EF4-FFF2-40B4-BE49-F238E27FC236}">
                <a16:creationId xmlns:a16="http://schemas.microsoft.com/office/drawing/2014/main" id="{4914ACDE-09AC-0592-B93D-2168B42AFD53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8637061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7" name="Рисунок 8">
            <a:extLst>
              <a:ext uri="{FF2B5EF4-FFF2-40B4-BE49-F238E27FC236}">
                <a16:creationId xmlns:a16="http://schemas.microsoft.com/office/drawing/2014/main" id="{BAB20F44-C56D-A440-AEDE-05EA55037203}"/>
              </a:ext>
            </a:extLst>
          </p:cNvPr>
          <p:cNvSpPr>
            <a:spLocks noGrp="1"/>
          </p:cNvSpPr>
          <p:nvPr>
            <p:ph type="pic" sz="quarter" idx="62" hasCustomPrompt="1"/>
          </p:nvPr>
        </p:nvSpPr>
        <p:spPr>
          <a:xfrm>
            <a:off x="9792232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58" name="Рисунок 8">
            <a:extLst>
              <a:ext uri="{FF2B5EF4-FFF2-40B4-BE49-F238E27FC236}">
                <a16:creationId xmlns:a16="http://schemas.microsoft.com/office/drawing/2014/main" id="{30EDA5B7-DAC0-82A3-23C4-41A46176763E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10947401" y="4399099"/>
            <a:ext cx="483840" cy="483840"/>
          </a:xfrm>
        </p:spPr>
        <p:txBody>
          <a:bodyPr anchor="ctr">
            <a:no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8A5D169-4492-D166-F454-C3A5B842E2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</p:spTree>
    <p:extLst>
      <p:ext uri="{BB962C8B-B14F-4D97-AF65-F5344CB8AC3E}">
        <p14:creationId xmlns:p14="http://schemas.microsoft.com/office/powerpoint/2010/main" val="33131209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в одну строку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0D0F4232-C5CC-4F52-9E24-8B536F2FA8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3775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7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0D0F4232-C5CC-4F52-9E24-8B536F2FA8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 5">
            <a:extLst>
              <a:ext uri="{FF2B5EF4-FFF2-40B4-BE49-F238E27FC236}">
                <a16:creationId xmlns:a16="http://schemas.microsoft.com/office/drawing/2014/main" id="{C3004332-BF40-28C4-CEE2-217AB5E6F4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Объект 2">
            <a:extLst>
              <a:ext uri="{FF2B5EF4-FFF2-40B4-BE49-F238E27FC236}">
                <a16:creationId xmlns:a16="http://schemas.microsoft.com/office/drawing/2014/main" id="{816A56C7-2BAF-A9C7-31B6-E9F44C22D7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2219" y="1520156"/>
            <a:ext cx="11076619" cy="4788570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2000">
                <a:latin typeface="+mn-lt"/>
              </a:defRPr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C3850B4B-096A-CC9A-01F3-1017965305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3" name="Текст 7">
            <a:extLst>
              <a:ext uri="{FF2B5EF4-FFF2-40B4-BE49-F238E27FC236}">
                <a16:creationId xmlns:a16="http://schemas.microsoft.com/office/drawing/2014/main" id="{8F873079-BBFF-6CD9-2680-ED532E54D4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</p:spTree>
    <p:extLst>
      <p:ext uri="{BB962C8B-B14F-4D97-AF65-F5344CB8AC3E}">
        <p14:creationId xmlns:p14="http://schemas.microsoft.com/office/powerpoint/2010/main" val="407607100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в две строки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AA155FE3-F76D-4DB8-881D-4BB466FB10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800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1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AA155FE3-F76D-4DB8-881D-4BB466FB10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>
            <a:extLst>
              <a:ext uri="{FF2B5EF4-FFF2-40B4-BE49-F238E27FC236}">
                <a16:creationId xmlns:a16="http://schemas.microsoft.com/office/drawing/2014/main" id="{CE9575F8-D3F2-5CB4-33B5-CC46BC2A70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2219" y="1520156"/>
            <a:ext cx="11076619" cy="4788570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2000">
                <a:latin typeface="+mn-lt"/>
              </a:defRPr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E8B8FDF-8F34-A68A-821C-0620D31FCB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558C8FA9-41F7-507B-03D1-688FDCF1E7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122" y="512989"/>
            <a:ext cx="10515600" cy="775597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две строки</a:t>
            </a:r>
            <a:br>
              <a:rPr lang="ru-RU" dirty="0"/>
            </a:br>
            <a:r>
              <a:rPr lang="ru-RU" dirty="0"/>
              <a:t>Заголовок в две строки</a:t>
            </a:r>
          </a:p>
        </p:txBody>
      </p:sp>
      <p:sp>
        <p:nvSpPr>
          <p:cNvPr id="2" name="Текст 7">
            <a:extLst>
              <a:ext uri="{FF2B5EF4-FFF2-40B4-BE49-F238E27FC236}">
                <a16:creationId xmlns:a16="http://schemas.microsoft.com/office/drawing/2014/main" id="{66E5CE28-8A75-2763-E74E-62642CA1776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</p:spTree>
    <p:extLst>
      <p:ext uri="{BB962C8B-B14F-4D97-AF65-F5344CB8AC3E}">
        <p14:creationId xmlns:p14="http://schemas.microsoft.com/office/powerpoint/2010/main" val="18041210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убрикатор и Заголовок в одну строк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C30FE2C2-F12D-4EC8-91D5-360AEC642A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2093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25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C30FE2C2-F12D-4EC8-91D5-360AEC642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CE73A10-A355-66C1-4E31-EF64125D32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Текст 12">
            <a:extLst>
              <a:ext uri="{FF2B5EF4-FFF2-40B4-BE49-F238E27FC236}">
                <a16:creationId xmlns:a16="http://schemas.microsoft.com/office/drawing/2014/main" id="{930C15B0-5B00-EA86-435B-36B78AD1DB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8828" y="264396"/>
            <a:ext cx="10514834" cy="27166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№. Рубрикатор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C965EAAF-64FE-F5E3-5B17-72B408A37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3" name="Текст 7">
            <a:extLst>
              <a:ext uri="{FF2B5EF4-FFF2-40B4-BE49-F238E27FC236}">
                <a16:creationId xmlns:a16="http://schemas.microsoft.com/office/drawing/2014/main" id="{781489C7-8682-2FD2-9A12-7E48BF024B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</p:spTree>
    <p:extLst>
      <p:ext uri="{BB962C8B-B14F-4D97-AF65-F5344CB8AC3E}">
        <p14:creationId xmlns:p14="http://schemas.microsoft.com/office/powerpoint/2010/main" val="231063179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убрикатор и Заголовок в одну строку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C30FE2C2-F12D-4EC8-91D5-360AEC642A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5073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49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C30FE2C2-F12D-4EC8-91D5-360AEC642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CE73A10-A355-66C1-4E31-EF64125D32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3" name="Текст 12">
            <a:extLst>
              <a:ext uri="{FF2B5EF4-FFF2-40B4-BE49-F238E27FC236}">
                <a16:creationId xmlns:a16="http://schemas.microsoft.com/office/drawing/2014/main" id="{6B0A8142-1CF9-E8F5-3CCB-CB74E84D0D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8828" y="264396"/>
            <a:ext cx="3313013" cy="27166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№. Рубрикатор</a:t>
            </a:r>
          </a:p>
        </p:txBody>
      </p:sp>
      <p:sp>
        <p:nvSpPr>
          <p:cNvPr id="4" name="Объект 2">
            <a:extLst>
              <a:ext uri="{FF2B5EF4-FFF2-40B4-BE49-F238E27FC236}">
                <a16:creationId xmlns:a16="http://schemas.microsoft.com/office/drawing/2014/main" id="{35664B98-E51F-9206-9B96-D53C4950DC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2219" y="1520156"/>
            <a:ext cx="11076619" cy="4788570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2000">
                <a:latin typeface="+mn-lt"/>
              </a:defRPr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A3B1660D-3696-A939-420B-AC56878BF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2" name="Текст 7">
            <a:extLst>
              <a:ext uri="{FF2B5EF4-FFF2-40B4-BE49-F238E27FC236}">
                <a16:creationId xmlns:a16="http://schemas.microsoft.com/office/drawing/2014/main" id="{3096AFCD-76D5-EF95-6746-AEB69A0F954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</p:spTree>
    <p:extLst>
      <p:ext uri="{BB962C8B-B14F-4D97-AF65-F5344CB8AC3E}">
        <p14:creationId xmlns:p14="http://schemas.microsoft.com/office/powerpoint/2010/main" val="9921922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в одну строку + два текстовых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6933A4DA-C5CE-4CF4-ADB2-DE7233D0B3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3921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73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6933A4DA-C5CE-4CF4-ADB2-DE7233D0B3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>
            <a:extLst>
              <a:ext uri="{FF2B5EF4-FFF2-40B4-BE49-F238E27FC236}">
                <a16:creationId xmlns:a16="http://schemas.microsoft.com/office/drawing/2014/main" id="{2B0DE820-88A7-CEAE-3F69-B47DAE5A46E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43609" y="1340768"/>
            <a:ext cx="5181600" cy="4351338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2000">
                <a:latin typeface="+mn-lt"/>
              </a:defRPr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CE5BA6D8-1CB3-31C3-5F71-3621BC9E323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9" y="1340768"/>
            <a:ext cx="5328593" cy="4351338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2000">
                <a:latin typeface="+mn-lt"/>
              </a:defRPr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" name="Номер слайда 5">
            <a:extLst>
              <a:ext uri="{FF2B5EF4-FFF2-40B4-BE49-F238E27FC236}">
                <a16:creationId xmlns:a16="http://schemas.microsoft.com/office/drawing/2014/main" id="{1BFC48A6-3ABA-4FE5-657A-69CEB4533A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81A6A998-6E53-2952-D78D-C2B1CA0E9D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5" name="Текст 7">
            <a:extLst>
              <a:ext uri="{FF2B5EF4-FFF2-40B4-BE49-F238E27FC236}">
                <a16:creationId xmlns:a16="http://schemas.microsoft.com/office/drawing/2014/main" id="{F12C34A6-06F0-9CEE-141D-AC5ECBF485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</p:spTree>
    <p:extLst>
      <p:ext uri="{BB962C8B-B14F-4D97-AF65-F5344CB8AC3E}">
        <p14:creationId xmlns:p14="http://schemas.microsoft.com/office/powerpoint/2010/main" val="356479196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 двух бло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4F293292-EEE4-43B1-9505-50072A6C78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9128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97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4F293292-EEE4-43B1-9505-50072A6C78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Текст 2">
            <a:extLst>
              <a:ext uri="{FF2B5EF4-FFF2-40B4-BE49-F238E27FC236}">
                <a16:creationId xmlns:a16="http://schemas.microsoft.com/office/drawing/2014/main" id="{EE79FEBE-52BF-D6BF-1DDD-056FEE945B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851" y="1642561"/>
            <a:ext cx="5157787" cy="332399"/>
          </a:xfrm>
        </p:spPr>
        <p:txBody>
          <a:bodyPr anchor="t" anchorCtr="0"/>
          <a:lstStyle>
            <a:lvl1pPr marL="0" indent="0">
              <a:buNone/>
              <a:defRPr sz="2400" b="0">
                <a:latin typeface="+mj-lt"/>
                <a:ea typeface="MTS Extended Medium" panose="020B03060201020203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07C0D5CD-D07F-6AFF-C3EF-9DA139D555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40851" y="2348880"/>
            <a:ext cx="5157787" cy="3684588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2000">
                <a:latin typeface="+mn-lt"/>
              </a:defRPr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FE19BB14-A24F-042E-0CDD-E56CA643FCC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095999" y="1642561"/>
            <a:ext cx="5256585" cy="332399"/>
          </a:xfrm>
        </p:spPr>
        <p:txBody>
          <a:bodyPr anchor="t" anchorCtr="0"/>
          <a:lstStyle>
            <a:lvl1pPr marL="0" indent="0">
              <a:buNone/>
              <a:defRPr sz="2400" b="0">
                <a:latin typeface="+mj-lt"/>
                <a:ea typeface="MTS Extended Medium" panose="020B03060201020203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09DCE083-8FE3-F11E-16D9-D4057973DF5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095999" y="2348880"/>
            <a:ext cx="5256585" cy="3684588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2000">
                <a:latin typeface="+mn-lt"/>
              </a:defRPr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" name="Номер слайда 5">
            <a:extLst>
              <a:ext uri="{FF2B5EF4-FFF2-40B4-BE49-F238E27FC236}">
                <a16:creationId xmlns:a16="http://schemas.microsoft.com/office/drawing/2014/main" id="{9496DDE1-387F-B754-0EB5-04FCCEDE09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31791D43-C976-3325-52F8-9D0FFA509C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7" name="Текст 7">
            <a:extLst>
              <a:ext uri="{FF2B5EF4-FFF2-40B4-BE49-F238E27FC236}">
                <a16:creationId xmlns:a16="http://schemas.microsoft.com/office/drawing/2014/main" id="{28AD4422-AEEE-678C-D47C-381DA2B864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</p:spTree>
    <p:extLst>
      <p:ext uri="{BB962C8B-B14F-4D97-AF65-F5344CB8AC3E}">
        <p14:creationId xmlns:p14="http://schemas.microsoft.com/office/powerpoint/2010/main" val="5514393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+текст+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04C0481B-85CF-4413-A333-37D3011E8B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5359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21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04C0481B-85CF-4413-A333-37D3011E8B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540FEB4-602F-2865-1EAE-45613191D0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8424" y="987425"/>
            <a:ext cx="3932237" cy="886397"/>
          </a:xfrm>
        </p:spPr>
        <p:txBody>
          <a:bodyPr vert="horz" anchor="t" anchorCtr="0"/>
          <a:lstStyle>
            <a:lvl1pPr>
              <a:defRPr sz="3200"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48709F0-6C0A-4083-B0CA-03D78AA9E3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2000">
                <a:latin typeface="+mn-lt"/>
              </a:defRPr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7BC215B-DC66-135F-AD80-BBBFA1809F9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46890" y="2057400"/>
            <a:ext cx="3932237" cy="3803650"/>
          </a:xfrm>
        </p:spPr>
        <p:txBody>
          <a:bodyPr/>
          <a:lstStyle>
            <a:lvl1pPr marL="0" indent="0">
              <a:buNone/>
              <a:defRPr sz="16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0823D931-9B08-208B-D75E-DC5BBEB1FF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Текст 7">
            <a:extLst>
              <a:ext uri="{FF2B5EF4-FFF2-40B4-BE49-F238E27FC236}">
                <a16:creationId xmlns:a16="http://schemas.microsoft.com/office/drawing/2014/main" id="{F5A89E52-681F-1CC6-97C9-6D8E7F136D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4520" y="6356350"/>
            <a:ext cx="7593606" cy="1661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2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Место под сноску</a:t>
            </a:r>
          </a:p>
        </p:txBody>
      </p:sp>
    </p:spTree>
    <p:extLst>
      <p:ext uri="{BB962C8B-B14F-4D97-AF65-F5344CB8AC3E}">
        <p14:creationId xmlns:p14="http://schemas.microsoft.com/office/powerpoint/2010/main" val="15489548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презентации+ФИО+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1B0B2DD-518D-4337-B971-D5133088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758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3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1B0B2DD-518D-4337-B971-D5133088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41377852-C3C1-47A5-8B5C-6BD38F67955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MTS LOGO COVER.pdf" descr="MTS LOGO COVER.pdf">
            <a:extLst>
              <a:ext uri="{FF2B5EF4-FFF2-40B4-BE49-F238E27FC236}">
                <a16:creationId xmlns:a16="http://schemas.microsoft.com/office/drawing/2014/main" id="{01450D93-31D2-C863-4604-2722A13D5944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91344" y="175056"/>
            <a:ext cx="11808978" cy="6494304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Текст 10">
            <a:extLst>
              <a:ext uri="{FF2B5EF4-FFF2-40B4-BE49-F238E27FC236}">
                <a16:creationId xmlns:a16="http://schemas.microsoft.com/office/drawing/2014/main" id="{AB4F3C81-B4DC-4089-802A-05797009867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2887" y="4954609"/>
            <a:ext cx="8149288" cy="431775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5" name="Текст 10">
            <a:extLst>
              <a:ext uri="{FF2B5EF4-FFF2-40B4-BE49-F238E27FC236}">
                <a16:creationId xmlns:a16="http://schemas.microsoft.com/office/drawing/2014/main" id="{9CF77FD5-126E-48C8-9A20-070EBD2A5C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82887" y="5375789"/>
            <a:ext cx="8149288" cy="296623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000" kern="12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EE9637F-D740-5D33-C3D9-5F4DD800E74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136" y="2605726"/>
            <a:ext cx="9113921" cy="1661993"/>
          </a:xfrm>
        </p:spPr>
        <p:txBody>
          <a:bodyPr vert="horz" anchor="ctr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12" name="Рисунок 11">
            <a:extLst>
              <a:ext uri="{FF2B5EF4-FFF2-40B4-BE49-F238E27FC236}">
                <a16:creationId xmlns:a16="http://schemas.microsoft.com/office/drawing/2014/main" id="{251EBFA0-C5D8-415E-B678-7252860C324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63794" y="4612165"/>
            <a:ext cx="1427749" cy="1427749"/>
          </a:xfrm>
          <a:custGeom>
            <a:avLst/>
            <a:gdLst>
              <a:gd name="connsiteX0" fmla="*/ 654159 w 1308318"/>
              <a:gd name="connsiteY0" fmla="*/ 0 h 1308318"/>
              <a:gd name="connsiteX1" fmla="*/ 1308318 w 1308318"/>
              <a:gd name="connsiteY1" fmla="*/ 654159 h 1308318"/>
              <a:gd name="connsiteX2" fmla="*/ 654159 w 1308318"/>
              <a:gd name="connsiteY2" fmla="*/ 1308318 h 1308318"/>
              <a:gd name="connsiteX3" fmla="*/ 0 w 1308318"/>
              <a:gd name="connsiteY3" fmla="*/ 654159 h 1308318"/>
              <a:gd name="connsiteX4" fmla="*/ 654159 w 1308318"/>
              <a:gd name="connsiteY4" fmla="*/ 0 h 1308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08318" h="1308318">
                <a:moveTo>
                  <a:pt x="654159" y="0"/>
                </a:moveTo>
                <a:cubicBezTo>
                  <a:pt x="1015441" y="0"/>
                  <a:pt x="1308318" y="292877"/>
                  <a:pt x="1308318" y="654159"/>
                </a:cubicBezTo>
                <a:cubicBezTo>
                  <a:pt x="1308318" y="1015441"/>
                  <a:pt x="1015441" y="1308318"/>
                  <a:pt x="654159" y="1308318"/>
                </a:cubicBezTo>
                <a:cubicBezTo>
                  <a:pt x="292877" y="1308318"/>
                  <a:pt x="0" y="1015441"/>
                  <a:pt x="0" y="654159"/>
                </a:cubicBezTo>
                <a:cubicBezTo>
                  <a:pt x="0" y="292877"/>
                  <a:pt x="292877" y="0"/>
                  <a:pt x="65415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357194038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булли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7358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45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4" name="Рисунок 8">
            <a:extLst>
              <a:ext uri="{FF2B5EF4-FFF2-40B4-BE49-F238E27FC236}">
                <a16:creationId xmlns:a16="http://schemas.microsoft.com/office/drawing/2014/main" id="{3A5DBF24-4751-AFFB-8CF6-AE693D03E7A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1496" y="1736393"/>
            <a:ext cx="1692607" cy="1692607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7" name="Текст 7">
            <a:extLst>
              <a:ext uri="{FF2B5EF4-FFF2-40B4-BE49-F238E27FC236}">
                <a16:creationId xmlns:a16="http://schemas.microsoft.com/office/drawing/2014/main" id="{C3EB79C4-990D-C1B6-8BEB-29CAC8873D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1496" y="3668608"/>
            <a:ext cx="3988800" cy="276999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81D48476-FBEF-B930-54B9-EC472AD94A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4074347"/>
            <a:ext cx="3988800" cy="1107996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9" name="Рисунок 8">
            <a:extLst>
              <a:ext uri="{FF2B5EF4-FFF2-40B4-BE49-F238E27FC236}">
                <a16:creationId xmlns:a16="http://schemas.microsoft.com/office/drawing/2014/main" id="{D5AA2217-52EB-B183-042A-9D43F2C7571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653412" y="1736393"/>
            <a:ext cx="1692607" cy="1692607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0" name="Текст 7">
            <a:extLst>
              <a:ext uri="{FF2B5EF4-FFF2-40B4-BE49-F238E27FC236}">
                <a16:creationId xmlns:a16="http://schemas.microsoft.com/office/drawing/2014/main" id="{83EE8C1D-542C-B1C0-7574-A51FB53BBF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53412" y="3668608"/>
            <a:ext cx="3987726" cy="276999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3" name="Текст 7">
            <a:extLst>
              <a:ext uri="{FF2B5EF4-FFF2-40B4-BE49-F238E27FC236}">
                <a16:creationId xmlns:a16="http://schemas.microsoft.com/office/drawing/2014/main" id="{AC637E53-68EE-B512-E57B-86550550C06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53412" y="4074347"/>
            <a:ext cx="3987726" cy="1107996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239144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булли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6590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69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4" name="Рисунок 8">
            <a:extLst>
              <a:ext uri="{FF2B5EF4-FFF2-40B4-BE49-F238E27FC236}">
                <a16:creationId xmlns:a16="http://schemas.microsoft.com/office/drawing/2014/main" id="{3A5DBF24-4751-AFFB-8CF6-AE693D03E7A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1496" y="1832087"/>
            <a:ext cx="1596913" cy="1596913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7" name="Текст 7">
            <a:extLst>
              <a:ext uri="{FF2B5EF4-FFF2-40B4-BE49-F238E27FC236}">
                <a16:creationId xmlns:a16="http://schemas.microsoft.com/office/drawing/2014/main" id="{C3EB79C4-990D-C1B6-8BEB-29CAC8873D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1496" y="3668608"/>
            <a:ext cx="3037738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81D48476-FBEF-B930-54B9-EC472AD94A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4074347"/>
            <a:ext cx="3048371" cy="5816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17" name="Рисунок 8">
            <a:extLst>
              <a:ext uri="{FF2B5EF4-FFF2-40B4-BE49-F238E27FC236}">
                <a16:creationId xmlns:a16="http://schemas.microsoft.com/office/drawing/2014/main" id="{B5501F4A-BA8C-0A0A-FAAA-AA7289B8BDB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71814" y="1832087"/>
            <a:ext cx="1596913" cy="1596913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8" name="Рисунок 8">
            <a:extLst>
              <a:ext uri="{FF2B5EF4-FFF2-40B4-BE49-F238E27FC236}">
                <a16:creationId xmlns:a16="http://schemas.microsoft.com/office/drawing/2014/main" id="{5E9A5BCA-5AE3-CF41-9E20-539EDD187B5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592767" y="1832087"/>
            <a:ext cx="1596913" cy="1596913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4" name="Текст 7">
            <a:extLst>
              <a:ext uri="{FF2B5EF4-FFF2-40B4-BE49-F238E27FC236}">
                <a16:creationId xmlns:a16="http://schemas.microsoft.com/office/drawing/2014/main" id="{C3EB79C4-990D-C1B6-8BEB-29CAC8873D9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92767" y="3668608"/>
            <a:ext cx="3037738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5" name="Текст 7">
            <a:extLst>
              <a:ext uri="{FF2B5EF4-FFF2-40B4-BE49-F238E27FC236}">
                <a16:creationId xmlns:a16="http://schemas.microsoft.com/office/drawing/2014/main" id="{81D48476-FBEF-B930-54B9-EC472AD94A3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92767" y="4074347"/>
            <a:ext cx="3048371" cy="5816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16" name="Текст 7">
            <a:extLst>
              <a:ext uri="{FF2B5EF4-FFF2-40B4-BE49-F238E27FC236}">
                <a16:creationId xmlns:a16="http://schemas.microsoft.com/office/drawing/2014/main" id="{C3EB79C4-990D-C1B6-8BEB-29CAC8873D9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71814" y="3668608"/>
            <a:ext cx="3037738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9" name="Текст 7">
            <a:extLst>
              <a:ext uri="{FF2B5EF4-FFF2-40B4-BE49-F238E27FC236}">
                <a16:creationId xmlns:a16="http://schemas.microsoft.com/office/drawing/2014/main" id="{81D48476-FBEF-B930-54B9-EC472AD94A3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71814" y="4074347"/>
            <a:ext cx="3048371" cy="5816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01461731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булли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5814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93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4" name="Рисунок 8">
            <a:extLst>
              <a:ext uri="{FF2B5EF4-FFF2-40B4-BE49-F238E27FC236}">
                <a16:creationId xmlns:a16="http://schemas.microsoft.com/office/drawing/2014/main" id="{3A5DBF24-4751-AFFB-8CF6-AE693D03E7A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1496" y="1733232"/>
            <a:ext cx="1440000" cy="1440000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6" name="Текст 7">
            <a:extLst>
              <a:ext uri="{FF2B5EF4-FFF2-40B4-BE49-F238E27FC236}">
                <a16:creationId xmlns:a16="http://schemas.microsoft.com/office/drawing/2014/main" id="{9AA1C0BB-C48F-339C-C87F-FDACDB4254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82971" y="1733232"/>
            <a:ext cx="3512347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9" name="Текст 7">
            <a:extLst>
              <a:ext uri="{FF2B5EF4-FFF2-40B4-BE49-F238E27FC236}">
                <a16:creationId xmlns:a16="http://schemas.microsoft.com/office/drawing/2014/main" id="{B4A81D94-A9F5-457C-41D5-437ECA997B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2972" y="2203736"/>
            <a:ext cx="3512347" cy="5816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10" name="Рисунок 8">
            <a:extLst>
              <a:ext uri="{FF2B5EF4-FFF2-40B4-BE49-F238E27FC236}">
                <a16:creationId xmlns:a16="http://schemas.microsoft.com/office/drawing/2014/main" id="{5EA4B857-CE04-C5E5-A63E-54D8ABE75CE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61496" y="4377578"/>
            <a:ext cx="1440000" cy="1440000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1" name="Текст 7">
            <a:extLst>
              <a:ext uri="{FF2B5EF4-FFF2-40B4-BE49-F238E27FC236}">
                <a16:creationId xmlns:a16="http://schemas.microsoft.com/office/drawing/2014/main" id="{92E10114-FD57-AAD9-B92D-DB73A3A7AD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82972" y="4377578"/>
            <a:ext cx="3512346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2" name="Текст 7">
            <a:extLst>
              <a:ext uri="{FF2B5EF4-FFF2-40B4-BE49-F238E27FC236}">
                <a16:creationId xmlns:a16="http://schemas.microsoft.com/office/drawing/2014/main" id="{7B1204C4-2F0B-D607-56FA-BEFDE3BC35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82972" y="4848082"/>
            <a:ext cx="3512347" cy="5816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21" name="Рисунок 8">
            <a:extLst>
              <a:ext uri="{FF2B5EF4-FFF2-40B4-BE49-F238E27FC236}">
                <a16:creationId xmlns:a16="http://schemas.microsoft.com/office/drawing/2014/main" id="{3E1E99DF-1938-ECD3-564C-6DF952587C6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396681" y="1733232"/>
            <a:ext cx="1440000" cy="1440000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2" name="Текст 7">
            <a:extLst>
              <a:ext uri="{FF2B5EF4-FFF2-40B4-BE49-F238E27FC236}">
                <a16:creationId xmlns:a16="http://schemas.microsoft.com/office/drawing/2014/main" id="{F2F23B11-09E1-ABFD-D4B1-9F71250191E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18156" y="1733232"/>
            <a:ext cx="3512347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4" name="Текст 7">
            <a:extLst>
              <a:ext uri="{FF2B5EF4-FFF2-40B4-BE49-F238E27FC236}">
                <a16:creationId xmlns:a16="http://schemas.microsoft.com/office/drawing/2014/main" id="{926D05B8-2D0A-0BAF-1297-51FFFC7130D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18157" y="2203736"/>
            <a:ext cx="3512347" cy="5816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26" name="Рисунок 8">
            <a:extLst>
              <a:ext uri="{FF2B5EF4-FFF2-40B4-BE49-F238E27FC236}">
                <a16:creationId xmlns:a16="http://schemas.microsoft.com/office/drawing/2014/main" id="{C8C430D2-6C95-82AD-920B-BB6AA031FFE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396681" y="4377578"/>
            <a:ext cx="1440000" cy="1440000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9" name="Текст 7">
            <a:extLst>
              <a:ext uri="{FF2B5EF4-FFF2-40B4-BE49-F238E27FC236}">
                <a16:creationId xmlns:a16="http://schemas.microsoft.com/office/drawing/2014/main" id="{8A74F97F-906E-D00D-C198-102A08CD4E6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18157" y="4377578"/>
            <a:ext cx="3512346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30" name="Текст 7">
            <a:extLst>
              <a:ext uri="{FF2B5EF4-FFF2-40B4-BE49-F238E27FC236}">
                <a16:creationId xmlns:a16="http://schemas.microsoft.com/office/drawing/2014/main" id="{AA91C5E4-8CE9-D7F2-0F7C-CE57D642242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18157" y="4848082"/>
            <a:ext cx="3512347" cy="5816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90048291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5527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7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4" name="Рисунок 8">
            <a:extLst>
              <a:ext uri="{FF2B5EF4-FFF2-40B4-BE49-F238E27FC236}">
                <a16:creationId xmlns:a16="http://schemas.microsoft.com/office/drawing/2014/main" id="{3A5DBF24-4751-AFFB-8CF6-AE693D03E7A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1496" y="1486097"/>
            <a:ext cx="861687" cy="861687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6" name="Текст 7">
            <a:extLst>
              <a:ext uri="{FF2B5EF4-FFF2-40B4-BE49-F238E27FC236}">
                <a16:creationId xmlns:a16="http://schemas.microsoft.com/office/drawing/2014/main" id="{9AA1C0BB-C48F-339C-C87F-FDACDB4254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63" y="2486994"/>
            <a:ext cx="2879758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9" name="Текст 7">
            <a:extLst>
              <a:ext uri="{FF2B5EF4-FFF2-40B4-BE49-F238E27FC236}">
                <a16:creationId xmlns:a16="http://schemas.microsoft.com/office/drawing/2014/main" id="{B4A81D94-A9F5-457C-41D5-437ECA997B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1497" y="2804497"/>
            <a:ext cx="2869124" cy="3877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19" name="Рисунок 8">
            <a:extLst>
              <a:ext uri="{FF2B5EF4-FFF2-40B4-BE49-F238E27FC236}">
                <a16:creationId xmlns:a16="http://schemas.microsoft.com/office/drawing/2014/main" id="{11FF0973-418C-2A51-EB56-55E53AFA450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661438" y="1486097"/>
            <a:ext cx="861687" cy="861687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3" name="Рисунок 8">
            <a:extLst>
              <a:ext uri="{FF2B5EF4-FFF2-40B4-BE49-F238E27FC236}">
                <a16:creationId xmlns:a16="http://schemas.microsoft.com/office/drawing/2014/main" id="{9997767A-5E23-CA60-00FC-DF59E91853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761380" y="1486097"/>
            <a:ext cx="861687" cy="861687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4" name="Текст 7">
            <a:extLst>
              <a:ext uri="{FF2B5EF4-FFF2-40B4-BE49-F238E27FC236}">
                <a16:creationId xmlns:a16="http://schemas.microsoft.com/office/drawing/2014/main" id="{9AA1C0BB-C48F-339C-C87F-FDACDB4254A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61438" y="2486994"/>
            <a:ext cx="2879758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6" name="Текст 7">
            <a:extLst>
              <a:ext uri="{FF2B5EF4-FFF2-40B4-BE49-F238E27FC236}">
                <a16:creationId xmlns:a16="http://schemas.microsoft.com/office/drawing/2014/main" id="{B4A81D94-A9F5-457C-41D5-437ECA997B3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661438" y="2804497"/>
            <a:ext cx="2869124" cy="3877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29" name="Текст 7">
            <a:extLst>
              <a:ext uri="{FF2B5EF4-FFF2-40B4-BE49-F238E27FC236}">
                <a16:creationId xmlns:a16="http://schemas.microsoft.com/office/drawing/2014/main" id="{9AA1C0BB-C48F-339C-C87F-FDACDB4254A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761380" y="2486994"/>
            <a:ext cx="2879758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30" name="Текст 7">
            <a:extLst>
              <a:ext uri="{FF2B5EF4-FFF2-40B4-BE49-F238E27FC236}">
                <a16:creationId xmlns:a16="http://schemas.microsoft.com/office/drawing/2014/main" id="{B4A81D94-A9F5-457C-41D5-437ECA997B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61380" y="2804497"/>
            <a:ext cx="2869124" cy="3877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38" name="Рисунок 8">
            <a:extLst>
              <a:ext uri="{FF2B5EF4-FFF2-40B4-BE49-F238E27FC236}">
                <a16:creationId xmlns:a16="http://schemas.microsoft.com/office/drawing/2014/main" id="{3A5DBF24-4751-AFFB-8CF6-AE693D03E7A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561496" y="4141517"/>
            <a:ext cx="861687" cy="861687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9" name="Текст 7">
            <a:extLst>
              <a:ext uri="{FF2B5EF4-FFF2-40B4-BE49-F238E27FC236}">
                <a16:creationId xmlns:a16="http://schemas.microsoft.com/office/drawing/2014/main" id="{9AA1C0BB-C48F-339C-C87F-FDACDB4254A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0863" y="5142414"/>
            <a:ext cx="2879758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40" name="Текст 7">
            <a:extLst>
              <a:ext uri="{FF2B5EF4-FFF2-40B4-BE49-F238E27FC236}">
                <a16:creationId xmlns:a16="http://schemas.microsoft.com/office/drawing/2014/main" id="{B4A81D94-A9F5-457C-41D5-437ECA997B3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1497" y="5459917"/>
            <a:ext cx="2869124" cy="3877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41" name="Рисунок 8">
            <a:extLst>
              <a:ext uri="{FF2B5EF4-FFF2-40B4-BE49-F238E27FC236}">
                <a16:creationId xmlns:a16="http://schemas.microsoft.com/office/drawing/2014/main" id="{11FF0973-418C-2A51-EB56-55E53AFA450F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4661438" y="4141517"/>
            <a:ext cx="861687" cy="861687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2" name="Рисунок 8">
            <a:extLst>
              <a:ext uri="{FF2B5EF4-FFF2-40B4-BE49-F238E27FC236}">
                <a16:creationId xmlns:a16="http://schemas.microsoft.com/office/drawing/2014/main" id="{9997767A-5E23-CA60-00FC-DF59E91853F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761380" y="4141517"/>
            <a:ext cx="861687" cy="861687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43" name="Текст 7">
            <a:extLst>
              <a:ext uri="{FF2B5EF4-FFF2-40B4-BE49-F238E27FC236}">
                <a16:creationId xmlns:a16="http://schemas.microsoft.com/office/drawing/2014/main" id="{9AA1C0BB-C48F-339C-C87F-FDACDB4254A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61438" y="5142414"/>
            <a:ext cx="2879758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44" name="Текст 7">
            <a:extLst>
              <a:ext uri="{FF2B5EF4-FFF2-40B4-BE49-F238E27FC236}">
                <a16:creationId xmlns:a16="http://schemas.microsoft.com/office/drawing/2014/main" id="{B4A81D94-A9F5-457C-41D5-437ECA997B3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661438" y="5459917"/>
            <a:ext cx="2869124" cy="3877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  <p:sp>
        <p:nvSpPr>
          <p:cNvPr id="45" name="Текст 7">
            <a:extLst>
              <a:ext uri="{FF2B5EF4-FFF2-40B4-BE49-F238E27FC236}">
                <a16:creationId xmlns:a16="http://schemas.microsoft.com/office/drawing/2014/main" id="{9AA1C0BB-C48F-339C-C87F-FDACDB4254A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61380" y="5142414"/>
            <a:ext cx="2879758" cy="221599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46" name="Текст 7">
            <a:extLst>
              <a:ext uri="{FF2B5EF4-FFF2-40B4-BE49-F238E27FC236}">
                <a16:creationId xmlns:a16="http://schemas.microsoft.com/office/drawing/2014/main" id="{B4A81D94-A9F5-457C-41D5-437ECA997B3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761380" y="5459917"/>
            <a:ext cx="2869124" cy="387798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  <a:r>
              <a:rPr lang="en-US" dirty="0"/>
              <a:t> </a:t>
            </a:r>
            <a:br>
              <a:rPr lang="ru-RU" dirty="0"/>
            </a:br>
            <a:r>
              <a:rPr lang="ru-RU" dirty="0"/>
              <a:t>Образец текста 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35729212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Текстовый блок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1434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41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3" y="512989"/>
            <a:ext cx="4982520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7620000" y="3176"/>
            <a:ext cx="457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4"/>
          </p:nvPr>
        </p:nvSpPr>
        <p:spPr>
          <a:xfrm>
            <a:off x="550863" y="2265110"/>
            <a:ext cx="2452168" cy="276999"/>
          </a:xfrm>
        </p:spPr>
        <p:txBody>
          <a:bodyPr/>
          <a:lstStyle>
            <a:lvl1pPr marL="0" indent="0">
              <a:buNone/>
              <a:defRPr sz="2000" b="1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2718037"/>
            <a:ext cx="4969720" cy="232063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FE0BE867-40FD-4A6C-BE25-93F1234296C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12131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Текстовый блок + фото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51061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65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14151" y="512989"/>
            <a:ext cx="4982520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4"/>
          </p:nvPr>
        </p:nvSpPr>
        <p:spPr>
          <a:xfrm>
            <a:off x="5326951" y="2265110"/>
            <a:ext cx="2452168" cy="276999"/>
          </a:xfrm>
        </p:spPr>
        <p:txBody>
          <a:bodyPr/>
          <a:lstStyle>
            <a:lvl1pPr marL="0" indent="0">
              <a:buNone/>
              <a:defRPr sz="2000" b="1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5326951" y="2718037"/>
            <a:ext cx="4969720" cy="232063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</p:txBody>
      </p:sp>
      <p:sp>
        <p:nvSpPr>
          <p:cNvPr id="3" name="Рисунок 5">
            <a:extLst>
              <a:ext uri="{FF2B5EF4-FFF2-40B4-BE49-F238E27FC236}">
                <a16:creationId xmlns:a16="http://schemas.microsoft.com/office/drawing/2014/main" id="{5499CB67-A844-A723-4CC5-6D12691C6BA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176" y="3176"/>
            <a:ext cx="457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</p:spTree>
    <p:extLst>
      <p:ext uri="{BB962C8B-B14F-4D97-AF65-F5344CB8AC3E}">
        <p14:creationId xmlns:p14="http://schemas.microsoft.com/office/powerpoint/2010/main" val="221260408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342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89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07024"/>
            <a:ext cx="6802716" cy="387798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3" name="Рисунок 5">
            <a:extLst>
              <a:ext uri="{FF2B5EF4-FFF2-40B4-BE49-F238E27FC236}">
                <a16:creationId xmlns:a16="http://schemas.microsoft.com/office/drawing/2014/main" id="{A2D0B2C4-C21F-8A6F-4021-AEBC572208F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620000" y="3176"/>
            <a:ext cx="457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D08900B5-0B03-4CB3-B805-53526676A2D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81197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небольшая подпись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0099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13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/>
          <p:cNvSpPr/>
          <p:nvPr userDrawn="1"/>
        </p:nvSpPr>
        <p:spPr>
          <a:xfrm>
            <a:off x="8366760" y="0"/>
            <a:ext cx="382524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570020" y="3429000"/>
            <a:ext cx="3349625" cy="332399"/>
          </a:xfr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ебольшая подпись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442560" y="549275"/>
            <a:ext cx="3848400" cy="5774400"/>
          </a:xfrm>
          <a:prstGeom prst="roundRect">
            <a:avLst>
              <a:gd name="adj" fmla="val 4331"/>
            </a:avLst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DC073D-D558-717C-BDBE-550608D30A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07024"/>
            <a:ext cx="5222657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82068A8B-5B05-429A-B787-7B95F2CAC7D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475337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небольшая подпись + фото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6574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37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/>
          <p:cNvSpPr/>
          <p:nvPr userDrawn="1"/>
        </p:nvSpPr>
        <p:spPr>
          <a:xfrm>
            <a:off x="8366760" y="0"/>
            <a:ext cx="3825240" cy="6858000"/>
          </a:xfrm>
          <a:prstGeom prst="rect">
            <a:avLst/>
          </a:prstGeom>
          <a:solidFill>
            <a:schemeClr val="accent6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570020" y="3429000"/>
            <a:ext cx="3349625" cy="332399"/>
          </a:xfr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ебольшая подпись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ED35659B-BD55-6060-EC44-DA8696FCF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07024"/>
            <a:ext cx="5222657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8" name="Рисунок 5">
            <a:extLst>
              <a:ext uri="{FF2B5EF4-FFF2-40B4-BE49-F238E27FC236}">
                <a16:creationId xmlns:a16="http://schemas.microsoft.com/office/drawing/2014/main" id="{85742C2E-6152-185F-386B-9B1BB4D3D6B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442560" y="549275"/>
            <a:ext cx="3848400" cy="5774400"/>
          </a:xfrm>
          <a:prstGeom prst="roundRect">
            <a:avLst>
              <a:gd name="adj" fmla="val 4331"/>
            </a:avLst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B556F560-A4F3-4484-A09F-8FF9EB53628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03596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небольшая подпись + фото №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259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61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1" y="0"/>
            <a:ext cx="6095999" cy="406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6096000" y="4068000"/>
            <a:ext cx="6096000" cy="2790000"/>
          </a:xfrm>
          <a:prstGeom prst="rect">
            <a:avLst/>
          </a:prstGeom>
          <a:solidFill>
            <a:schemeClr val="accent6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6525894" y="4462022"/>
            <a:ext cx="3349625" cy="332399"/>
          </a:xfr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ебольшая подпись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10ED7E19-0C3A-8760-B7D4-5B55708E62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07024"/>
            <a:ext cx="5222657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782CEC97-1390-465E-B300-FBD69298D1F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108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презентации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844CC7F9-0B0E-4524-A46D-059C391596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3229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7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844CC7F9-0B0E-4524-A46D-059C391596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67CCEDC-31FC-495C-B8FA-B06C4D8D4B9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4C05F570-5B6D-F90E-0959-F4F689703E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136" y="4836588"/>
            <a:ext cx="9113921" cy="1661993"/>
          </a:xfrm>
        </p:spPr>
        <p:txBody>
          <a:bodyPr vert="horz" anchor="b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753D318-EF78-F70D-342D-1181C2BA938B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540665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небольшая подпись + фото №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-6400" y="2480310"/>
            <a:ext cx="5632000" cy="4377690"/>
          </a:xfrm>
          <a:prstGeom prst="rect">
            <a:avLst/>
          </a:prstGeom>
          <a:solidFill>
            <a:schemeClr val="accent6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4055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85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5625600" y="2480310"/>
            <a:ext cx="6566400" cy="43848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8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538063" y="2972435"/>
            <a:ext cx="3016667" cy="332399"/>
          </a:xfr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ебольшая подпись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FE99CFE2-C403-B7D2-D500-EBA0F7B149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07024"/>
            <a:ext cx="5222657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59128123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3657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09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2045110"/>
            <a:ext cx="12192000" cy="481289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353F7643-8DE8-1F24-C29D-5883E3531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07024"/>
            <a:ext cx="5222657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136534189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0882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33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793F3130-361C-A8D4-2A78-44C7043B7E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639462"/>
            <a:ext cx="5222657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4" name="Рисунок 5">
            <a:extLst>
              <a:ext uri="{FF2B5EF4-FFF2-40B4-BE49-F238E27FC236}">
                <a16:creationId xmlns:a16="http://schemas.microsoft.com/office/drawing/2014/main" id="{266E8D3F-6601-D927-E87A-73FEBEF9B3F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3176"/>
            <a:ext cx="12192000" cy="481289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6FA79607-0EAD-4D49-8C1A-0738D0E49D3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946798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 небольшая подпись + фото №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0646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7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2000" cy="387477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6096000" y="3874770"/>
            <a:ext cx="6096000" cy="2983230"/>
          </a:xfrm>
          <a:prstGeom prst="rect">
            <a:avLst/>
          </a:prstGeom>
          <a:solidFill>
            <a:schemeClr val="accent6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6525894" y="5590833"/>
            <a:ext cx="3349625" cy="332399"/>
          </a:xfr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ебольшая подпись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379A92B2-66EF-464F-100D-5FB69AEE07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639462"/>
            <a:ext cx="5222657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2920B5E5-CDC5-4EDA-94A8-280EFFC2F75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859256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серая подложка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2854296"/>
            <a:ext cx="12192000" cy="34544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5485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81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3" y="512989"/>
            <a:ext cx="4982520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4"/>
          </p:nvPr>
        </p:nvSpPr>
        <p:spPr>
          <a:xfrm>
            <a:off x="550863" y="3213693"/>
            <a:ext cx="2452168" cy="276999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3666620"/>
            <a:ext cx="4969720" cy="232063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550863" y="1693978"/>
            <a:ext cx="4969720" cy="22159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</p:txBody>
      </p:sp>
      <p:sp>
        <p:nvSpPr>
          <p:cNvPr id="3" name="Рисунок 5">
            <a:extLst>
              <a:ext uri="{FF2B5EF4-FFF2-40B4-BE49-F238E27FC236}">
                <a16:creationId xmlns:a16="http://schemas.microsoft.com/office/drawing/2014/main" id="{BA0B99DA-02EB-30A9-25F5-C17D2FCA11F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932091" y="549275"/>
            <a:ext cx="3848400" cy="5774400"/>
          </a:xfrm>
          <a:prstGeom prst="roundRect">
            <a:avLst>
              <a:gd name="adj" fmla="val 4331"/>
            </a:avLst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</p:spTree>
    <p:extLst>
      <p:ext uri="{BB962C8B-B14F-4D97-AF65-F5344CB8AC3E}">
        <p14:creationId xmlns:p14="http://schemas.microsoft.com/office/powerpoint/2010/main" val="100552291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+серая подложка + фото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2854296"/>
            <a:ext cx="12192000" cy="34544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2541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05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3043" y="512989"/>
            <a:ext cx="4982520" cy="775597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4"/>
          </p:nvPr>
        </p:nvSpPr>
        <p:spPr>
          <a:xfrm>
            <a:off x="6105843" y="3213693"/>
            <a:ext cx="2452168" cy="276999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6105843" y="3666620"/>
            <a:ext cx="4969720" cy="232063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105843" y="1693978"/>
            <a:ext cx="4969720" cy="22159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текста Образец текста</a:t>
            </a:r>
          </a:p>
        </p:txBody>
      </p:sp>
      <p:sp>
        <p:nvSpPr>
          <p:cNvPr id="3" name="Рисунок 5">
            <a:extLst>
              <a:ext uri="{FF2B5EF4-FFF2-40B4-BE49-F238E27FC236}">
                <a16:creationId xmlns:a16="http://schemas.microsoft.com/office/drawing/2014/main" id="{4AD99438-2230-BC22-D018-BD2C1957974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128206" y="549275"/>
            <a:ext cx="3848400" cy="5774400"/>
          </a:xfrm>
          <a:prstGeom prst="roundRect">
            <a:avLst>
              <a:gd name="adj" fmla="val 4331"/>
            </a:avLst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</p:spTree>
    <p:extLst>
      <p:ext uri="{BB962C8B-B14F-4D97-AF65-F5344CB8AC3E}">
        <p14:creationId xmlns:p14="http://schemas.microsoft.com/office/powerpoint/2010/main" val="69736682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/Посл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ятиугольник 3"/>
          <p:cNvSpPr/>
          <p:nvPr userDrawn="1"/>
        </p:nvSpPr>
        <p:spPr>
          <a:xfrm>
            <a:off x="0" y="0"/>
            <a:ext cx="6095999" cy="6858000"/>
          </a:xfrm>
          <a:prstGeom prst="homePlate">
            <a:avLst>
              <a:gd name="adj" fmla="val 858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6167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29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5784917" cy="387798"/>
          </a:xfrm>
        </p:spPr>
        <p:txBody>
          <a:bodyPr vert="horz" wrap="square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3"/>
          </p:nvPr>
        </p:nvSpPr>
        <p:spPr>
          <a:xfrm>
            <a:off x="550864" y="1524439"/>
            <a:ext cx="4812320" cy="4784286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Объект 10"/>
          <p:cNvSpPr>
            <a:spLocks noGrp="1"/>
          </p:cNvSpPr>
          <p:nvPr>
            <p:ph sz="quarter" idx="14"/>
          </p:nvPr>
        </p:nvSpPr>
        <p:spPr>
          <a:xfrm>
            <a:off x="6828819" y="1524439"/>
            <a:ext cx="4812320" cy="4784286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59509002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/После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6096000" y="3176"/>
            <a:ext cx="6096000" cy="68548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6128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53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6" name="Объект 10"/>
          <p:cNvSpPr>
            <a:spLocks noGrp="1"/>
          </p:cNvSpPr>
          <p:nvPr>
            <p:ph sz="quarter" idx="13"/>
          </p:nvPr>
        </p:nvSpPr>
        <p:spPr>
          <a:xfrm>
            <a:off x="550864" y="1524439"/>
            <a:ext cx="4812320" cy="4784286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Объект 10"/>
          <p:cNvSpPr>
            <a:spLocks noGrp="1"/>
          </p:cNvSpPr>
          <p:nvPr>
            <p:ph sz="quarter" idx="14"/>
          </p:nvPr>
        </p:nvSpPr>
        <p:spPr>
          <a:xfrm>
            <a:off x="6828819" y="1524439"/>
            <a:ext cx="4812320" cy="4784286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86F3F73E-8F6D-43DB-8F4E-5196A095C1E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41083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/После №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6096000" y="3176"/>
            <a:ext cx="6096000" cy="6854824"/>
          </a:xfrm>
          <a:prstGeom prst="rect">
            <a:avLst/>
          </a:prstGeom>
          <a:solidFill>
            <a:schemeClr val="accent6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3201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77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6" name="Объект 10"/>
          <p:cNvSpPr>
            <a:spLocks noGrp="1"/>
          </p:cNvSpPr>
          <p:nvPr>
            <p:ph sz="quarter" idx="13"/>
          </p:nvPr>
        </p:nvSpPr>
        <p:spPr>
          <a:xfrm>
            <a:off x="550864" y="1524439"/>
            <a:ext cx="4812320" cy="4784286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Объект 10"/>
          <p:cNvSpPr>
            <a:spLocks noGrp="1"/>
          </p:cNvSpPr>
          <p:nvPr>
            <p:ph sz="quarter" idx="14"/>
          </p:nvPr>
        </p:nvSpPr>
        <p:spPr>
          <a:xfrm>
            <a:off x="6828819" y="1524439"/>
            <a:ext cx="4812320" cy="4784286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618DC9F2-047B-444F-998B-D486DFD52F3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6740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/После №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7385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01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6" name="Прямоугольник: скругленные верхние углы 3">
            <a:extLst>
              <a:ext uri="{FF2B5EF4-FFF2-40B4-BE49-F238E27FC236}">
                <a16:creationId xmlns:a16="http://schemas.microsoft.com/office/drawing/2014/main" id="{618E36A6-FAC5-3C31-57C2-B5989B91ED6E}"/>
              </a:ext>
            </a:extLst>
          </p:cNvPr>
          <p:cNvSpPr/>
          <p:nvPr userDrawn="1"/>
        </p:nvSpPr>
        <p:spPr>
          <a:xfrm rot="5400000">
            <a:off x="-223492" y="1987796"/>
            <a:ext cx="4544422" cy="4097439"/>
          </a:xfrm>
          <a:prstGeom prst="round2SameRect">
            <a:avLst>
              <a:gd name="adj1" fmla="val 4799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7" name="Прямоугольник: скругленные верхние углы 6">
            <a:extLst>
              <a:ext uri="{FF2B5EF4-FFF2-40B4-BE49-F238E27FC236}">
                <a16:creationId xmlns:a16="http://schemas.microsoft.com/office/drawing/2014/main" id="{EE64F387-3657-BDA2-2F0D-2C37E2CA0E95}"/>
              </a:ext>
            </a:extLst>
          </p:cNvPr>
          <p:cNvSpPr/>
          <p:nvPr userDrawn="1"/>
        </p:nvSpPr>
        <p:spPr>
          <a:xfrm rot="16200000">
            <a:off x="6266047" y="382774"/>
            <a:ext cx="4544422" cy="7307484"/>
          </a:xfrm>
          <a:prstGeom prst="round2SameRect">
            <a:avLst>
              <a:gd name="adj1" fmla="val 4799"/>
              <a:gd name="adj2" fmla="val 0"/>
            </a:avLst>
          </a:prstGeom>
          <a:solidFill>
            <a:schemeClr val="accent6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8" name="Объект 10"/>
          <p:cNvSpPr>
            <a:spLocks noGrp="1"/>
          </p:cNvSpPr>
          <p:nvPr>
            <p:ph sz="quarter" idx="13"/>
          </p:nvPr>
        </p:nvSpPr>
        <p:spPr>
          <a:xfrm>
            <a:off x="550864" y="2068749"/>
            <a:ext cx="3139162" cy="4239976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Объект 10"/>
          <p:cNvSpPr>
            <a:spLocks noGrp="1"/>
          </p:cNvSpPr>
          <p:nvPr>
            <p:ph sz="quarter" idx="14"/>
          </p:nvPr>
        </p:nvSpPr>
        <p:spPr>
          <a:xfrm>
            <a:off x="5369670" y="2068749"/>
            <a:ext cx="6271468" cy="4239976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6773663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презентации+ФИО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844CC7F9-0B0E-4524-A46D-059C391596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1454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1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844CC7F9-0B0E-4524-A46D-059C391596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B0B31C9F-F2EF-4B25-94E9-C62E60BCB3F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Текст 10">
            <a:extLst>
              <a:ext uri="{FF2B5EF4-FFF2-40B4-BE49-F238E27FC236}">
                <a16:creationId xmlns:a16="http://schemas.microsoft.com/office/drawing/2014/main" id="{D413FE2E-8FDE-CBA6-5E60-B623CFA894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2865" y="5636910"/>
            <a:ext cx="9115726" cy="431775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6" name="Текст 10">
            <a:extLst>
              <a:ext uri="{FF2B5EF4-FFF2-40B4-BE49-F238E27FC236}">
                <a16:creationId xmlns:a16="http://schemas.microsoft.com/office/drawing/2014/main" id="{AFFAF620-A540-6B5A-7780-AF5DF450613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0668" y="6058090"/>
            <a:ext cx="9115726" cy="296623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000" kern="12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B5DF8E6B-0436-A53D-5983-B5020AD39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136" y="2605726"/>
            <a:ext cx="9113921" cy="1661993"/>
          </a:xfrm>
        </p:spPr>
        <p:txBody>
          <a:bodyPr vert="horz" anchor="ctr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B525A5CD-9E65-671A-B239-65E89FB61C7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8977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/После №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7192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25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8" name="Прямоугольник: скругленные верхние углы 7">
            <a:extLst>
              <a:ext uri="{FF2B5EF4-FFF2-40B4-BE49-F238E27FC236}">
                <a16:creationId xmlns:a16="http://schemas.microsoft.com/office/drawing/2014/main" id="{28D2F822-5107-4173-E667-1C3282618D53}"/>
              </a:ext>
            </a:extLst>
          </p:cNvPr>
          <p:cNvSpPr/>
          <p:nvPr userDrawn="1"/>
        </p:nvSpPr>
        <p:spPr>
          <a:xfrm>
            <a:off x="3469341" y="1290918"/>
            <a:ext cx="2294852" cy="1093467"/>
          </a:xfrm>
          <a:prstGeom prst="round2SameRect">
            <a:avLst>
              <a:gd name="adj1" fmla="val 10518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9" name="Прямоугольник: скругленные углы 2">
            <a:extLst>
              <a:ext uri="{FF2B5EF4-FFF2-40B4-BE49-F238E27FC236}">
                <a16:creationId xmlns:a16="http://schemas.microsoft.com/office/drawing/2014/main" id="{12B2D3F0-D2BF-5464-FA44-624E90148F6A}"/>
              </a:ext>
            </a:extLst>
          </p:cNvPr>
          <p:cNvSpPr/>
          <p:nvPr userDrawn="1"/>
        </p:nvSpPr>
        <p:spPr>
          <a:xfrm>
            <a:off x="550863" y="1782502"/>
            <a:ext cx="5213329" cy="4526224"/>
          </a:xfrm>
          <a:prstGeom prst="roundRect">
            <a:avLst>
              <a:gd name="adj" fmla="val 3812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0" name="Прямоугольник: скругленные верхние углы 8">
            <a:extLst>
              <a:ext uri="{FF2B5EF4-FFF2-40B4-BE49-F238E27FC236}">
                <a16:creationId xmlns:a16="http://schemas.microsoft.com/office/drawing/2014/main" id="{555AAAF7-A6D0-DB21-D03A-EEC766A00AB7}"/>
              </a:ext>
            </a:extLst>
          </p:cNvPr>
          <p:cNvSpPr/>
          <p:nvPr userDrawn="1"/>
        </p:nvSpPr>
        <p:spPr>
          <a:xfrm>
            <a:off x="9346287" y="1290918"/>
            <a:ext cx="2294852" cy="1093467"/>
          </a:xfrm>
          <a:prstGeom prst="round2SameRect">
            <a:avLst>
              <a:gd name="adj1" fmla="val 10518"/>
              <a:gd name="adj2" fmla="val 0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1" name="Прямоугольник: скругленные углы 9">
            <a:extLst>
              <a:ext uri="{FF2B5EF4-FFF2-40B4-BE49-F238E27FC236}">
                <a16:creationId xmlns:a16="http://schemas.microsoft.com/office/drawing/2014/main" id="{059C65D0-CA7F-6EA4-52FE-837690DB529F}"/>
              </a:ext>
            </a:extLst>
          </p:cNvPr>
          <p:cNvSpPr/>
          <p:nvPr userDrawn="1"/>
        </p:nvSpPr>
        <p:spPr>
          <a:xfrm>
            <a:off x="6427809" y="1782502"/>
            <a:ext cx="5213329" cy="4526224"/>
          </a:xfrm>
          <a:prstGeom prst="roundRect">
            <a:avLst>
              <a:gd name="adj" fmla="val 3812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2" name="Объект 10"/>
          <p:cNvSpPr>
            <a:spLocks noGrp="1"/>
          </p:cNvSpPr>
          <p:nvPr>
            <p:ph sz="quarter" idx="13"/>
          </p:nvPr>
        </p:nvSpPr>
        <p:spPr>
          <a:xfrm>
            <a:off x="771357" y="2068749"/>
            <a:ext cx="4734497" cy="4040221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Объект 10"/>
          <p:cNvSpPr>
            <a:spLocks noGrp="1"/>
          </p:cNvSpPr>
          <p:nvPr>
            <p:ph sz="quarter" idx="14"/>
          </p:nvPr>
        </p:nvSpPr>
        <p:spPr>
          <a:xfrm>
            <a:off x="6667224" y="2068749"/>
            <a:ext cx="4734497" cy="4040221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51588073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 себе 1 спик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3315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73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ru-RU" dirty="0"/>
              <a:t>Имя Фамилия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EEBEE2F-C070-FB73-553D-0A569833458E}"/>
              </a:ext>
            </a:extLst>
          </p:cNvPr>
          <p:cNvSpPr/>
          <p:nvPr userDrawn="1"/>
        </p:nvSpPr>
        <p:spPr>
          <a:xfrm>
            <a:off x="-1" y="2014917"/>
            <a:ext cx="12119171" cy="40672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7" name="Скругленный прямоугольник 12">
            <a:extLst>
              <a:ext uri="{FF2B5EF4-FFF2-40B4-BE49-F238E27FC236}">
                <a16:creationId xmlns:a16="http://schemas.microsoft.com/office/drawing/2014/main" id="{E94EE1F0-A7DF-920C-97CC-ACD9D182C900}"/>
              </a:ext>
            </a:extLst>
          </p:cNvPr>
          <p:cNvSpPr/>
          <p:nvPr userDrawn="1"/>
        </p:nvSpPr>
        <p:spPr>
          <a:xfrm>
            <a:off x="3806963" y="2014917"/>
            <a:ext cx="8451546" cy="4067233"/>
          </a:xfrm>
          <a:prstGeom prst="roundRect">
            <a:avLst>
              <a:gd name="adj" fmla="val 3803"/>
            </a:avLst>
          </a:prstGeom>
          <a:solidFill>
            <a:schemeClr val="accent6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4" name="Рисунок 5">
            <a:extLst>
              <a:ext uri="{FF2B5EF4-FFF2-40B4-BE49-F238E27FC236}">
                <a16:creationId xmlns:a16="http://schemas.microsoft.com/office/drawing/2014/main" id="{A8FD023E-F7A0-4D9B-0916-6374DEF9866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440396" y="549275"/>
            <a:ext cx="3848400" cy="5774400"/>
          </a:xfrm>
          <a:prstGeom prst="roundRect">
            <a:avLst>
              <a:gd name="adj" fmla="val 4331"/>
            </a:avLst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558648" y="1147792"/>
            <a:ext cx="4679558" cy="249299"/>
          </a:xfrm>
        </p:spPr>
        <p:txBody>
          <a:bodyPr/>
          <a:lstStyle>
            <a:lvl1pPr marL="0" indent="0" algn="l">
              <a:spcBef>
                <a:spcPts val="600"/>
              </a:spcBef>
              <a:buNone/>
              <a:defRPr lang="ru-RU" sz="1800" b="1" kern="1200" dirty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ru-RU" dirty="0"/>
              <a:t>Должность</a:t>
            </a:r>
          </a:p>
        </p:txBody>
      </p:sp>
      <p:sp>
        <p:nvSpPr>
          <p:cNvPr id="11" name="Текст 7"/>
          <p:cNvSpPr>
            <a:spLocks noGrp="1"/>
          </p:cNvSpPr>
          <p:nvPr>
            <p:ph type="body" sz="quarter" idx="14"/>
          </p:nvPr>
        </p:nvSpPr>
        <p:spPr>
          <a:xfrm>
            <a:off x="554128" y="2338752"/>
            <a:ext cx="2452168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Текст 7"/>
          <p:cNvSpPr>
            <a:spLocks noGrp="1"/>
          </p:cNvSpPr>
          <p:nvPr>
            <p:ph type="body" sz="quarter" idx="15"/>
          </p:nvPr>
        </p:nvSpPr>
        <p:spPr>
          <a:xfrm>
            <a:off x="554128" y="2791679"/>
            <a:ext cx="2868341" cy="1749881"/>
          </a:xfrm>
        </p:spPr>
        <p:txBody>
          <a:bodyPr/>
          <a:lstStyle>
            <a:lvl1pPr marL="216000" marR="0" indent="-216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400" b="0" baseline="0"/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Образец текста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Образец текста</a:t>
            </a:r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8"/>
          </p:nvPr>
        </p:nvSpPr>
        <p:spPr>
          <a:xfrm>
            <a:off x="4197583" y="2338752"/>
            <a:ext cx="2452168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4" name="Текст 7"/>
          <p:cNvSpPr>
            <a:spLocks noGrp="1"/>
          </p:cNvSpPr>
          <p:nvPr>
            <p:ph type="body" sz="quarter" idx="19"/>
          </p:nvPr>
        </p:nvSpPr>
        <p:spPr>
          <a:xfrm>
            <a:off x="4197583" y="2791679"/>
            <a:ext cx="2868341" cy="1749881"/>
          </a:xfrm>
        </p:spPr>
        <p:txBody>
          <a:bodyPr/>
          <a:lstStyle>
            <a:lvl1pPr marL="216000" marR="0" indent="-216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400" b="0" baseline="0"/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Образец текста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030033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 себе 1 спикер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AEEBEE2F-C070-FB73-553D-0A569833458E}"/>
              </a:ext>
            </a:extLst>
          </p:cNvPr>
          <p:cNvSpPr/>
          <p:nvPr userDrawn="1"/>
        </p:nvSpPr>
        <p:spPr>
          <a:xfrm>
            <a:off x="0" y="2854296"/>
            <a:ext cx="12192000" cy="34544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3451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7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ru-RU" dirty="0"/>
              <a:t>Имя Фамилия</a:t>
            </a:r>
          </a:p>
        </p:txBody>
      </p:sp>
      <p:sp>
        <p:nvSpPr>
          <p:cNvPr id="6" name="Рисунок 4">
            <a:extLst>
              <a:ext uri="{FF2B5EF4-FFF2-40B4-BE49-F238E27FC236}">
                <a16:creationId xmlns:a16="http://schemas.microsoft.com/office/drawing/2014/main" id="{179032DC-BB2D-E173-0CA6-E4C113D198A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453088" y="1144568"/>
            <a:ext cx="4968000" cy="4968000"/>
          </a:xfrm>
          <a:prstGeom prst="flowChartConnector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558648" y="1147792"/>
            <a:ext cx="4679558" cy="249299"/>
          </a:xfrm>
        </p:spPr>
        <p:txBody>
          <a:bodyPr/>
          <a:lstStyle>
            <a:lvl1pPr marL="0" indent="0" algn="l">
              <a:spcBef>
                <a:spcPts val="600"/>
              </a:spcBef>
              <a:buNone/>
              <a:defRPr lang="ru-RU" sz="1800" b="1" kern="1200" dirty="0">
                <a:solidFill>
                  <a:schemeClr val="tx1"/>
                </a:solidFill>
                <a:latin typeface="+mn-lt"/>
                <a:ea typeface="MTS Text" panose="020B0306020102020303" pitchFamily="34" charset="0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8"/>
          </p:nvPr>
        </p:nvSpPr>
        <p:spPr>
          <a:xfrm>
            <a:off x="554127" y="3213693"/>
            <a:ext cx="3547609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5"/>
          </p:nvPr>
        </p:nvSpPr>
        <p:spPr>
          <a:xfrm>
            <a:off x="554128" y="3666620"/>
            <a:ext cx="3547608" cy="1749881"/>
          </a:xfrm>
        </p:spPr>
        <p:txBody>
          <a:bodyPr/>
          <a:lstStyle>
            <a:lvl1pPr marL="216000" marR="0" indent="-216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400" b="0" baseline="0"/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Образец текста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769991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3 челове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87C9920F-CE42-456C-9F8F-8888F00EF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1426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21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87C9920F-CE42-456C-9F8F-8888F00EF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BE47467B-4968-5135-C445-AB162E3DA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601999-3797-3F1A-45B8-302D698865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4" hasCustomPrompt="1"/>
          </p:nvPr>
        </p:nvSpPr>
        <p:spPr>
          <a:xfrm>
            <a:off x="558648" y="1633452"/>
            <a:ext cx="2340000" cy="234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558648" y="4452695"/>
            <a:ext cx="2340000" cy="2769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8648" y="4939160"/>
            <a:ext cx="2340000" cy="443198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0" name="Текст 12">
            <a:extLst>
              <a:ext uri="{FF2B5EF4-FFF2-40B4-BE49-F238E27FC236}">
                <a16:creationId xmlns:a16="http://schemas.microsoft.com/office/drawing/2014/main" id="{7DA79E78-FB65-8BC2-01AF-7135C07AA9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26000" y="4452695"/>
            <a:ext cx="2340000" cy="2769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1" name="Текст 12">
            <a:extLst>
              <a:ext uri="{FF2B5EF4-FFF2-40B4-BE49-F238E27FC236}">
                <a16:creationId xmlns:a16="http://schemas.microsoft.com/office/drawing/2014/main" id="{5EB44503-48E7-EBBC-4D23-35C39C18FA2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26000" y="4939160"/>
            <a:ext cx="2340000" cy="443198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2" name="Текст 12">
            <a:extLst>
              <a:ext uri="{FF2B5EF4-FFF2-40B4-BE49-F238E27FC236}">
                <a16:creationId xmlns:a16="http://schemas.microsoft.com/office/drawing/2014/main" id="{B0B19B72-3FCD-919D-9E24-E117416BA34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97245" y="4452695"/>
            <a:ext cx="2340000" cy="2769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4" name="Текст 12">
            <a:extLst>
              <a:ext uri="{FF2B5EF4-FFF2-40B4-BE49-F238E27FC236}">
                <a16:creationId xmlns:a16="http://schemas.microsoft.com/office/drawing/2014/main" id="{8968B52E-6D53-8470-24AC-8A478DFCAD3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97245" y="4939160"/>
            <a:ext cx="2340000" cy="443198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5" name="Рисунок 4">
            <a:extLst>
              <a:ext uri="{FF2B5EF4-FFF2-40B4-BE49-F238E27FC236}">
                <a16:creationId xmlns:a16="http://schemas.microsoft.com/office/drawing/2014/main" id="{B86D67CD-EA0D-8550-4A94-CC52174CCE43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926000" y="1633452"/>
            <a:ext cx="2340000" cy="234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17" name="Рисунок 4">
            <a:extLst>
              <a:ext uri="{FF2B5EF4-FFF2-40B4-BE49-F238E27FC236}">
                <a16:creationId xmlns:a16="http://schemas.microsoft.com/office/drawing/2014/main" id="{DB14E421-36E5-34A7-DE28-8E10C50FDEDF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293352" y="1633452"/>
            <a:ext cx="2340000" cy="234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 </a:t>
            </a:r>
          </a:p>
        </p:txBody>
      </p:sp>
    </p:spTree>
    <p:extLst>
      <p:ext uri="{BB962C8B-B14F-4D97-AF65-F5344CB8AC3E}">
        <p14:creationId xmlns:p14="http://schemas.microsoft.com/office/powerpoint/2010/main" val="4275542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3 человека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87C9920F-CE42-456C-9F8F-8888F00EF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6385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45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87C9920F-CE42-456C-9F8F-8888F00EF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BE47467B-4968-5135-C445-AB162E3DA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601999-3797-3F1A-45B8-302D698865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4" hasCustomPrompt="1"/>
          </p:nvPr>
        </p:nvSpPr>
        <p:spPr>
          <a:xfrm>
            <a:off x="549459" y="1399111"/>
            <a:ext cx="2520000" cy="2880000"/>
          </a:xfrm>
          <a:prstGeom prst="roundRect">
            <a:avLst>
              <a:gd name="adj" fmla="val 7510"/>
            </a:avLst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5" y="4777436"/>
            <a:ext cx="2520000" cy="276999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8005" y="5263901"/>
            <a:ext cx="2520000" cy="443198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21" name="Текст 12"/>
          <p:cNvSpPr>
            <a:spLocks noGrp="1"/>
          </p:cNvSpPr>
          <p:nvPr>
            <p:ph type="body" sz="quarter" idx="21" hasCustomPrompt="1"/>
          </p:nvPr>
        </p:nvSpPr>
        <p:spPr>
          <a:xfrm>
            <a:off x="4828914" y="4777436"/>
            <a:ext cx="2520000" cy="276999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2" hasCustomPrompt="1"/>
          </p:nvPr>
        </p:nvSpPr>
        <p:spPr>
          <a:xfrm>
            <a:off x="4828914" y="5263901"/>
            <a:ext cx="2520000" cy="443198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23" name="Текст 12"/>
          <p:cNvSpPr>
            <a:spLocks noGrp="1"/>
          </p:cNvSpPr>
          <p:nvPr>
            <p:ph type="body" sz="quarter" idx="23" hasCustomPrompt="1"/>
          </p:nvPr>
        </p:nvSpPr>
        <p:spPr>
          <a:xfrm>
            <a:off x="9108369" y="4777436"/>
            <a:ext cx="2520000" cy="276999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4" name="Текст 12"/>
          <p:cNvSpPr>
            <a:spLocks noGrp="1"/>
          </p:cNvSpPr>
          <p:nvPr>
            <p:ph type="body" sz="quarter" idx="24" hasCustomPrompt="1"/>
          </p:nvPr>
        </p:nvSpPr>
        <p:spPr>
          <a:xfrm>
            <a:off x="9108369" y="5263901"/>
            <a:ext cx="2520000" cy="443198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3" name="Рисунок 4">
            <a:extLst>
              <a:ext uri="{FF2B5EF4-FFF2-40B4-BE49-F238E27FC236}">
                <a16:creationId xmlns:a16="http://schemas.microsoft.com/office/drawing/2014/main" id="{D2E7CE52-CD95-11EF-3F22-C005D025AC51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828914" y="1399111"/>
            <a:ext cx="2520000" cy="2880000"/>
          </a:xfrm>
          <a:prstGeom prst="roundRect">
            <a:avLst>
              <a:gd name="adj" fmla="val 7510"/>
            </a:avLst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7" name="Рисунок 4">
            <a:extLst>
              <a:ext uri="{FF2B5EF4-FFF2-40B4-BE49-F238E27FC236}">
                <a16:creationId xmlns:a16="http://schemas.microsoft.com/office/drawing/2014/main" id="{B077C63A-3FED-40F3-3524-C4141C1CA24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108369" y="1399111"/>
            <a:ext cx="2520000" cy="2880000"/>
          </a:xfrm>
          <a:prstGeom prst="roundRect">
            <a:avLst>
              <a:gd name="adj" fmla="val 7510"/>
            </a:avLst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</p:spTree>
    <p:extLst>
      <p:ext uri="{BB962C8B-B14F-4D97-AF65-F5344CB8AC3E}">
        <p14:creationId xmlns:p14="http://schemas.microsoft.com/office/powerpoint/2010/main" val="4419622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4 челове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87C9920F-CE42-456C-9F8F-8888F00EF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7694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69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87C9920F-CE42-456C-9F8F-8888F00EF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BE47467B-4968-5135-C445-AB162E3DA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601999-3797-3F1A-45B8-302D698865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5" y="4196322"/>
            <a:ext cx="2160000" cy="2492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8005" y="4682787"/>
            <a:ext cx="2160000" cy="387798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0" name="Текст 12">
            <a:extLst>
              <a:ext uri="{FF2B5EF4-FFF2-40B4-BE49-F238E27FC236}">
                <a16:creationId xmlns:a16="http://schemas.microsoft.com/office/drawing/2014/main" id="{92CAD89F-1325-FD5E-23E3-6B551754D5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30216" y="4196322"/>
            <a:ext cx="2160000" cy="2492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1" name="Текст 12">
            <a:extLst>
              <a:ext uri="{FF2B5EF4-FFF2-40B4-BE49-F238E27FC236}">
                <a16:creationId xmlns:a16="http://schemas.microsoft.com/office/drawing/2014/main" id="{0DA1D766-D8D2-BD22-C8FA-B9BD3804974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30216" y="4682787"/>
            <a:ext cx="2160000" cy="387798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2" name="Текст 12">
            <a:extLst>
              <a:ext uri="{FF2B5EF4-FFF2-40B4-BE49-F238E27FC236}">
                <a16:creationId xmlns:a16="http://schemas.microsoft.com/office/drawing/2014/main" id="{E078BC54-3CE7-C7F2-3629-D917232862B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501784" y="4196322"/>
            <a:ext cx="2160000" cy="2492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4" name="Текст 12">
            <a:extLst>
              <a:ext uri="{FF2B5EF4-FFF2-40B4-BE49-F238E27FC236}">
                <a16:creationId xmlns:a16="http://schemas.microsoft.com/office/drawing/2014/main" id="{2BADE5AB-548B-001F-7060-3178C771291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01784" y="4682787"/>
            <a:ext cx="2160000" cy="387798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21" name="Текст 12">
            <a:extLst>
              <a:ext uri="{FF2B5EF4-FFF2-40B4-BE49-F238E27FC236}">
                <a16:creationId xmlns:a16="http://schemas.microsoft.com/office/drawing/2014/main" id="{0F080A40-E53A-2BD7-7237-F018925038A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473352" y="4196322"/>
            <a:ext cx="2160000" cy="2492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2" name="Текст 12">
            <a:extLst>
              <a:ext uri="{FF2B5EF4-FFF2-40B4-BE49-F238E27FC236}">
                <a16:creationId xmlns:a16="http://schemas.microsoft.com/office/drawing/2014/main" id="{55AD4BFB-47D3-81A8-952A-9D4C299004D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73352" y="4682787"/>
            <a:ext cx="2160000" cy="387798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5" name="Рисунок 4">
            <a:extLst>
              <a:ext uri="{FF2B5EF4-FFF2-40B4-BE49-F238E27FC236}">
                <a16:creationId xmlns:a16="http://schemas.microsoft.com/office/drawing/2014/main" id="{D038865D-4983-8AE1-025A-844C1B6DE4A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58648" y="1666880"/>
            <a:ext cx="2160000" cy="216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15" name="Рисунок 4">
            <a:extLst>
              <a:ext uri="{FF2B5EF4-FFF2-40B4-BE49-F238E27FC236}">
                <a16:creationId xmlns:a16="http://schemas.microsoft.com/office/drawing/2014/main" id="{925F9C20-C2A6-3185-6C1E-C17522F3FC67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3530216" y="1666880"/>
            <a:ext cx="2160000" cy="216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17" name="Рисунок 4">
            <a:extLst>
              <a:ext uri="{FF2B5EF4-FFF2-40B4-BE49-F238E27FC236}">
                <a16:creationId xmlns:a16="http://schemas.microsoft.com/office/drawing/2014/main" id="{8701DD47-89D2-0D02-856E-6C3C233FD317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501784" y="1666880"/>
            <a:ext cx="2160000" cy="216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18" name="Рисунок 4">
            <a:extLst>
              <a:ext uri="{FF2B5EF4-FFF2-40B4-BE49-F238E27FC236}">
                <a16:creationId xmlns:a16="http://schemas.microsoft.com/office/drawing/2014/main" id="{A717163F-CFBF-6394-A169-D53F34F27152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473352" y="1666880"/>
            <a:ext cx="2160000" cy="216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ru-RU" dirty="0"/>
              <a:t>Добавьте фотографию </a:t>
            </a:r>
          </a:p>
        </p:txBody>
      </p:sp>
    </p:spTree>
    <p:extLst>
      <p:ext uri="{BB962C8B-B14F-4D97-AF65-F5344CB8AC3E}">
        <p14:creationId xmlns:p14="http://schemas.microsoft.com/office/powerpoint/2010/main" val="9648028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4 человека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87C9920F-CE42-456C-9F8F-8888F00EF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1547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93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87C9920F-CE42-456C-9F8F-8888F00EF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BE47467B-4968-5135-C445-AB162E3DA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601999-3797-3F1A-45B8-302D698865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5" y="4563791"/>
            <a:ext cx="2232000" cy="276999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8005" y="5050256"/>
            <a:ext cx="2232000" cy="443198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2" hasCustomPrompt="1"/>
          </p:nvPr>
        </p:nvSpPr>
        <p:spPr>
          <a:xfrm>
            <a:off x="3505534" y="4563791"/>
            <a:ext cx="2232000" cy="276999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9" name="Текст 12"/>
          <p:cNvSpPr>
            <a:spLocks noGrp="1"/>
          </p:cNvSpPr>
          <p:nvPr>
            <p:ph type="body" sz="quarter" idx="23" hasCustomPrompt="1"/>
          </p:nvPr>
        </p:nvSpPr>
        <p:spPr>
          <a:xfrm>
            <a:off x="3505534" y="5050256"/>
            <a:ext cx="2232000" cy="443198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4" hasCustomPrompt="1"/>
          </p:nvPr>
        </p:nvSpPr>
        <p:spPr>
          <a:xfrm>
            <a:off x="6453063" y="4563791"/>
            <a:ext cx="2232000" cy="276999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5" name="Текст 12"/>
          <p:cNvSpPr>
            <a:spLocks noGrp="1"/>
          </p:cNvSpPr>
          <p:nvPr>
            <p:ph type="body" sz="quarter" idx="25" hasCustomPrompt="1"/>
          </p:nvPr>
        </p:nvSpPr>
        <p:spPr>
          <a:xfrm>
            <a:off x="6453063" y="5050256"/>
            <a:ext cx="2232000" cy="443198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26" name="Текст 12"/>
          <p:cNvSpPr>
            <a:spLocks noGrp="1"/>
          </p:cNvSpPr>
          <p:nvPr>
            <p:ph type="body" sz="quarter" idx="26" hasCustomPrompt="1"/>
          </p:nvPr>
        </p:nvSpPr>
        <p:spPr>
          <a:xfrm>
            <a:off x="9400592" y="4563791"/>
            <a:ext cx="2232000" cy="276999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27" hasCustomPrompt="1"/>
          </p:nvPr>
        </p:nvSpPr>
        <p:spPr>
          <a:xfrm>
            <a:off x="9400592" y="5050256"/>
            <a:ext cx="2232000" cy="443198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16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3" name="Рисунок 4">
            <a:extLst>
              <a:ext uri="{FF2B5EF4-FFF2-40B4-BE49-F238E27FC236}">
                <a16:creationId xmlns:a16="http://schemas.microsoft.com/office/drawing/2014/main" id="{E70A6A35-24C8-011E-F86D-0F0A30896CE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49459" y="1598951"/>
            <a:ext cx="2232000" cy="2700000"/>
          </a:xfrm>
          <a:prstGeom prst="roundRect">
            <a:avLst>
              <a:gd name="adj" fmla="val 7510"/>
            </a:avLst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7" name="Рисунок 4">
            <a:extLst>
              <a:ext uri="{FF2B5EF4-FFF2-40B4-BE49-F238E27FC236}">
                <a16:creationId xmlns:a16="http://schemas.microsoft.com/office/drawing/2014/main" id="{3D9E6C2B-4703-13DD-4693-0CA33394C6D8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3505534" y="1598951"/>
            <a:ext cx="2232000" cy="2700000"/>
          </a:xfrm>
          <a:prstGeom prst="roundRect">
            <a:avLst>
              <a:gd name="adj" fmla="val 7510"/>
            </a:avLst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8" name="Рисунок 4">
            <a:extLst>
              <a:ext uri="{FF2B5EF4-FFF2-40B4-BE49-F238E27FC236}">
                <a16:creationId xmlns:a16="http://schemas.microsoft.com/office/drawing/2014/main" id="{609CDE8D-439B-12F9-DA5B-64B84D0125A8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453063" y="1598951"/>
            <a:ext cx="2232000" cy="2700000"/>
          </a:xfrm>
          <a:prstGeom prst="roundRect">
            <a:avLst>
              <a:gd name="adj" fmla="val 7510"/>
            </a:avLst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sp>
        <p:nvSpPr>
          <p:cNvPr id="9" name="Рисунок 4">
            <a:extLst>
              <a:ext uri="{FF2B5EF4-FFF2-40B4-BE49-F238E27FC236}">
                <a16:creationId xmlns:a16="http://schemas.microsoft.com/office/drawing/2014/main" id="{552A0626-5A5D-0CD8-F4D9-9CE1DB96343D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400592" y="1598951"/>
            <a:ext cx="2232000" cy="2700000"/>
          </a:xfrm>
          <a:prstGeom prst="roundRect">
            <a:avLst>
              <a:gd name="adj" fmla="val 7510"/>
            </a:avLst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</p:spTree>
    <p:extLst>
      <p:ext uri="{BB962C8B-B14F-4D97-AF65-F5344CB8AC3E}">
        <p14:creationId xmlns:p14="http://schemas.microsoft.com/office/powerpoint/2010/main" val="3510330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6 челове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87C9920F-CE42-456C-9F8F-8888F00EF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4641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17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87C9920F-CE42-456C-9F8F-8888F00EF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BE47467B-4968-5135-C445-AB162E3DA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601999-3797-3F1A-45B8-302D698865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062" y="512989"/>
            <a:ext cx="10515600" cy="387798"/>
          </a:xfrm>
        </p:spPr>
        <p:txBody>
          <a:bodyPr vert="horz" anchor="t" anchorCtr="0">
            <a:sp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ru-RU" dirty="0"/>
              <a:t>Заголовок в одну строку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1671361" y="2920396"/>
            <a:ext cx="1620000" cy="1938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8" hasCustomPrompt="1"/>
          </p:nvPr>
        </p:nvSpPr>
        <p:spPr>
          <a:xfrm>
            <a:off x="1671363" y="3258777"/>
            <a:ext cx="1620000" cy="3323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2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20" name="Текст 12">
            <a:extLst>
              <a:ext uri="{FF2B5EF4-FFF2-40B4-BE49-F238E27FC236}">
                <a16:creationId xmlns:a16="http://schemas.microsoft.com/office/drawing/2014/main" id="{64187EB2-89BC-AC20-787A-804DD62BEA4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94488" y="2920396"/>
            <a:ext cx="1620000" cy="1938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1" name="Текст 12">
            <a:extLst>
              <a:ext uri="{FF2B5EF4-FFF2-40B4-BE49-F238E27FC236}">
                <a16:creationId xmlns:a16="http://schemas.microsoft.com/office/drawing/2014/main" id="{698674CA-16B6-53B4-CC11-982E83E1D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294488" y="3258777"/>
            <a:ext cx="1620000" cy="3323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2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22" name="Текст 12">
            <a:extLst>
              <a:ext uri="{FF2B5EF4-FFF2-40B4-BE49-F238E27FC236}">
                <a16:creationId xmlns:a16="http://schemas.microsoft.com/office/drawing/2014/main" id="{7C78AA08-5E63-4F0D-9E97-892A29D2B21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900637" y="2920396"/>
            <a:ext cx="1620000" cy="1938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23" name="Текст 12">
            <a:extLst>
              <a:ext uri="{FF2B5EF4-FFF2-40B4-BE49-F238E27FC236}">
                <a16:creationId xmlns:a16="http://schemas.microsoft.com/office/drawing/2014/main" id="{6A4F4228-E287-8C8A-D26A-ADA8D78A54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00637" y="3258777"/>
            <a:ext cx="1620000" cy="3323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2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5" name="Рисунок 4">
            <a:extLst>
              <a:ext uri="{FF2B5EF4-FFF2-40B4-BE49-F238E27FC236}">
                <a16:creationId xmlns:a16="http://schemas.microsoft.com/office/drawing/2014/main" id="{83E3A7D9-800A-1B40-D034-C4041E15E277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1671363" y="1145955"/>
            <a:ext cx="1620000" cy="162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7" name="Рисунок 4">
            <a:extLst>
              <a:ext uri="{FF2B5EF4-FFF2-40B4-BE49-F238E27FC236}">
                <a16:creationId xmlns:a16="http://schemas.microsoft.com/office/drawing/2014/main" id="{2D3424BE-CF4D-68D9-C1D9-F05C61211E4A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5294488" y="1145955"/>
            <a:ext cx="1620000" cy="162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8" name="Рисунок 4">
            <a:extLst>
              <a:ext uri="{FF2B5EF4-FFF2-40B4-BE49-F238E27FC236}">
                <a16:creationId xmlns:a16="http://schemas.microsoft.com/office/drawing/2014/main" id="{22F2F895-5B75-65D3-B198-3905ED9C6446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8900637" y="1145955"/>
            <a:ext cx="1620000" cy="162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9" name="Текст 12">
            <a:extLst>
              <a:ext uri="{FF2B5EF4-FFF2-40B4-BE49-F238E27FC236}">
                <a16:creationId xmlns:a16="http://schemas.microsoft.com/office/drawing/2014/main" id="{4C598F25-6E84-3A0C-4C66-39D7C1B9B99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671361" y="5665474"/>
            <a:ext cx="1620000" cy="1938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0" name="Текст 12">
            <a:extLst>
              <a:ext uri="{FF2B5EF4-FFF2-40B4-BE49-F238E27FC236}">
                <a16:creationId xmlns:a16="http://schemas.microsoft.com/office/drawing/2014/main" id="{55399ACA-8E95-9E11-75D3-F3D7D70A03D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671363" y="6003855"/>
            <a:ext cx="1620000" cy="3323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2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1" name="Текст 12">
            <a:extLst>
              <a:ext uri="{FF2B5EF4-FFF2-40B4-BE49-F238E27FC236}">
                <a16:creationId xmlns:a16="http://schemas.microsoft.com/office/drawing/2014/main" id="{668A6C6C-87A4-3FCB-C3B4-DA3A7D3FC8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294488" y="5665474"/>
            <a:ext cx="1620000" cy="1938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2" name="Текст 12">
            <a:extLst>
              <a:ext uri="{FF2B5EF4-FFF2-40B4-BE49-F238E27FC236}">
                <a16:creationId xmlns:a16="http://schemas.microsoft.com/office/drawing/2014/main" id="{55FFFE45-5D3C-EE83-FE17-08E08CD40F7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294488" y="6003855"/>
            <a:ext cx="1620000" cy="3323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2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4" name="Текст 12">
            <a:extLst>
              <a:ext uri="{FF2B5EF4-FFF2-40B4-BE49-F238E27FC236}">
                <a16:creationId xmlns:a16="http://schemas.microsoft.com/office/drawing/2014/main" id="{82410AF6-566C-6D25-0C2B-0449BBC56F3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900637" y="5665474"/>
            <a:ext cx="1620000" cy="1938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5" name="Текст 12">
            <a:extLst>
              <a:ext uri="{FF2B5EF4-FFF2-40B4-BE49-F238E27FC236}">
                <a16:creationId xmlns:a16="http://schemas.microsoft.com/office/drawing/2014/main" id="{9B58F766-3727-02AF-18DD-31B596F65B3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900637" y="6003855"/>
            <a:ext cx="1620000" cy="332399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200" b="0" baseline="0"/>
            </a:lvl1pPr>
          </a:lstStyle>
          <a:p>
            <a:pPr lvl="0"/>
            <a:r>
              <a:rPr lang="ru-RU" dirty="0"/>
              <a:t>Должность/</a:t>
            </a:r>
            <a:br>
              <a:rPr lang="ru-RU" dirty="0"/>
            </a:br>
            <a:r>
              <a:rPr lang="ru-RU" dirty="0"/>
              <a:t>другая информация</a:t>
            </a:r>
          </a:p>
        </p:txBody>
      </p:sp>
      <p:sp>
        <p:nvSpPr>
          <p:cNvPr id="17" name="Рисунок 4">
            <a:extLst>
              <a:ext uri="{FF2B5EF4-FFF2-40B4-BE49-F238E27FC236}">
                <a16:creationId xmlns:a16="http://schemas.microsoft.com/office/drawing/2014/main" id="{EF49C97D-74BC-5C71-E942-A097797DF577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1671363" y="3891033"/>
            <a:ext cx="1620000" cy="162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33" name="Рисунок 4">
            <a:extLst>
              <a:ext uri="{FF2B5EF4-FFF2-40B4-BE49-F238E27FC236}">
                <a16:creationId xmlns:a16="http://schemas.microsoft.com/office/drawing/2014/main" id="{BEDEC89D-09EA-8D85-E6F1-2FD48DC5121C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294488" y="3891033"/>
            <a:ext cx="1620000" cy="162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ru-RU" dirty="0"/>
              <a:t>Добавьте фотографию </a:t>
            </a:r>
          </a:p>
        </p:txBody>
      </p:sp>
      <p:sp>
        <p:nvSpPr>
          <p:cNvPr id="34" name="Рисунок 4">
            <a:extLst>
              <a:ext uri="{FF2B5EF4-FFF2-40B4-BE49-F238E27FC236}">
                <a16:creationId xmlns:a16="http://schemas.microsoft.com/office/drawing/2014/main" id="{7C0E49EA-BB1C-000B-8C85-9C302B3B7014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8900637" y="3891033"/>
            <a:ext cx="1620000" cy="1620000"/>
          </a:xfrm>
          <a:prstGeom prst="flowChartConnector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ru-RU" dirty="0"/>
              <a:t>Добавьте фотографию </a:t>
            </a:r>
          </a:p>
        </p:txBody>
      </p:sp>
    </p:spTree>
    <p:extLst>
      <p:ext uri="{BB962C8B-B14F-4D97-AF65-F5344CB8AC3E}">
        <p14:creationId xmlns:p14="http://schemas.microsoft.com/office/powerpoint/2010/main" val="9327663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цита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82471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65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12" name="Группа 11"/>
          <p:cNvGrpSpPr/>
          <p:nvPr userDrawn="1"/>
        </p:nvGrpSpPr>
        <p:grpSpPr>
          <a:xfrm>
            <a:off x="0" y="0"/>
            <a:ext cx="12192000" cy="5624513"/>
            <a:chOff x="0" y="0"/>
            <a:chExt cx="12192000" cy="5624513"/>
          </a:xfrm>
        </p:grpSpPr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94EE0FA8-35F2-8E36-BE06-784A1AC20983}"/>
                </a:ext>
              </a:extLst>
            </p:cNvPr>
            <p:cNvSpPr/>
            <p:nvPr/>
          </p:nvSpPr>
          <p:spPr>
            <a:xfrm>
              <a:off x="0" y="0"/>
              <a:ext cx="12192000" cy="5013434"/>
            </a:xfrm>
            <a:prstGeom prst="rect">
              <a:avLst/>
            </a:prstGeom>
            <a:solidFill>
              <a:schemeClr val="accent6">
                <a:lumMod val="20000"/>
                <a:lumOff val="8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14" name="Равнобедренный треугольник 13">
              <a:extLst>
                <a:ext uri="{FF2B5EF4-FFF2-40B4-BE49-F238E27FC236}">
                  <a16:creationId xmlns:a16="http://schemas.microsoft.com/office/drawing/2014/main" id="{A5A77A20-764B-8932-FB01-BECC92790460}"/>
                </a:ext>
              </a:extLst>
            </p:cNvPr>
            <p:cNvSpPr/>
            <p:nvPr/>
          </p:nvSpPr>
          <p:spPr>
            <a:xfrm rot="10800000">
              <a:off x="1576551" y="5013433"/>
              <a:ext cx="758952" cy="611080"/>
            </a:xfrm>
            <a:prstGeom prst="triangle">
              <a:avLst>
                <a:gd name="adj" fmla="val 100000"/>
              </a:avLst>
            </a:prstGeom>
            <a:solidFill>
              <a:schemeClr val="accent6">
                <a:lumMod val="20000"/>
                <a:lumOff val="8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6" name="Заголовок 5">
            <a:extLst>
              <a:ext uri="{FF2B5EF4-FFF2-40B4-BE49-F238E27FC236}">
                <a16:creationId xmlns:a16="http://schemas.microsoft.com/office/drawing/2014/main" id="{54596656-A3DA-C630-F0CA-B05748EE9E53}"/>
              </a:ext>
            </a:extLst>
          </p:cNvPr>
          <p:cNvSpPr txBox="1">
            <a:spLocks/>
          </p:cNvSpPr>
          <p:nvPr userDrawn="1"/>
        </p:nvSpPr>
        <p:spPr>
          <a:xfrm>
            <a:off x="550863" y="6056091"/>
            <a:ext cx="10515600" cy="3323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endParaRPr lang="ru-RU" sz="2400" dirty="0">
              <a:solidFill>
                <a:schemeClr val="accent1"/>
              </a:solidFill>
            </a:endParaRPr>
          </a:p>
        </p:txBody>
      </p:sp>
      <p:sp>
        <p:nvSpPr>
          <p:cNvPr id="9" name="Заголовок 5">
            <a:extLst>
              <a:ext uri="{FF2B5EF4-FFF2-40B4-BE49-F238E27FC236}">
                <a16:creationId xmlns:a16="http://schemas.microsoft.com/office/drawing/2014/main" id="{4E56C82F-35A5-1D80-6125-673C68CF8BF0}"/>
              </a:ext>
            </a:extLst>
          </p:cNvPr>
          <p:cNvSpPr txBox="1">
            <a:spLocks/>
          </p:cNvSpPr>
          <p:nvPr userDrawn="1"/>
        </p:nvSpPr>
        <p:spPr>
          <a:xfrm>
            <a:off x="519333" y="5929306"/>
            <a:ext cx="10515600" cy="2769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endParaRPr lang="ru-RU" sz="20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6089788"/>
            <a:ext cx="7584733" cy="276999"/>
          </a:xfrm>
        </p:spPr>
        <p:txBody>
          <a:bodyPr/>
          <a:lstStyle>
            <a:lvl3pPr marL="0" indent="0">
              <a:spcBef>
                <a:spcPts val="0"/>
              </a:spcBef>
              <a:buNone/>
              <a:defRPr>
                <a:solidFill>
                  <a:schemeClr val="accent1"/>
                </a:solidFill>
                <a:latin typeface="+mj-lt"/>
              </a:defRPr>
            </a:lvl3pPr>
          </a:lstStyle>
          <a:p>
            <a:pPr lvl="2"/>
            <a:r>
              <a:rPr lang="ru-RU" dirty="0"/>
              <a:t>Автор текст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519332" y="1606610"/>
            <a:ext cx="11121805" cy="3281288"/>
          </a:xfrm>
        </p:spPr>
        <p:txBody>
          <a:bodyPr anchor="b"/>
          <a:lstStyle>
            <a:lvl1pPr marL="0" indent="0">
              <a:buNone/>
              <a:defRPr sz="4800">
                <a:latin typeface="+mj-lt"/>
              </a:defRPr>
            </a:lvl1pPr>
          </a:lstStyle>
          <a:p>
            <a:pPr lvl="0"/>
            <a:r>
              <a:rPr lang="en-US" dirty="0"/>
              <a:t>“</a:t>
            </a:r>
            <a:r>
              <a:rPr lang="ru-RU" dirty="0"/>
              <a:t>Цитата</a:t>
            </a:r>
            <a:r>
              <a:rPr lang="en-US" dirty="0"/>
              <a:t>”</a:t>
            </a:r>
            <a:endParaRPr lang="ru-RU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5189493-FC9E-582E-469A-F04A99CF09D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215730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цитатой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2">
            <a:extLst>
              <a:ext uri="{FF2B5EF4-FFF2-40B4-BE49-F238E27FC236}">
                <a16:creationId xmlns:a16="http://schemas.microsoft.com/office/drawing/2014/main" id="{FBCFDDA6-F3FF-CD31-67DA-111EC26E6D9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176"/>
            <a:ext cx="12192000" cy="6854823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aseline="0"/>
            </a:lvl1pPr>
          </a:lstStyle>
          <a:p>
            <a:r>
              <a:rPr lang="ru-RU" dirty="0"/>
              <a:t>Добавьте фотографию</a:t>
            </a: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3457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89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9E272486-E891-488D-2831-56318D6DCB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8906" y="5187998"/>
            <a:ext cx="4929050" cy="387798"/>
          </a:xfrm>
        </p:spPr>
        <p:txBody>
          <a:bodyPr anchor="ctr"/>
          <a:lstStyle>
            <a:lvl1pPr marL="0" indent="0" algn="l">
              <a:buNone/>
              <a:defRPr>
                <a:solidFill>
                  <a:srgbClr val="FF0000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«Цитата»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8DCC9A0D-27D3-4AD6-8C3E-1964FD4EC30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5448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презентации+ФИО+фото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844CC7F9-0B0E-4524-A46D-059C391596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5031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5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844CC7F9-0B0E-4524-A46D-059C391596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98F277E3-34FD-4CFF-A3E7-D274ACA498C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Текст 10">
            <a:extLst>
              <a:ext uri="{FF2B5EF4-FFF2-40B4-BE49-F238E27FC236}">
                <a16:creationId xmlns:a16="http://schemas.microsoft.com/office/drawing/2014/main" id="{C5997389-12A4-990F-5FBA-4C4431B787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2887" y="4954609"/>
            <a:ext cx="8149288" cy="431775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6" name="Текст 10">
            <a:extLst>
              <a:ext uri="{FF2B5EF4-FFF2-40B4-BE49-F238E27FC236}">
                <a16:creationId xmlns:a16="http://schemas.microsoft.com/office/drawing/2014/main" id="{5F479FF6-7FD2-A5F5-B193-EBF2A75AC4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82887" y="5375789"/>
            <a:ext cx="8149288" cy="296623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000" kern="12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DAF4556F-5D6F-A9AD-1F49-72722D6E5D2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136" y="2605726"/>
            <a:ext cx="9113921" cy="1661993"/>
          </a:xfrm>
        </p:spPr>
        <p:txBody>
          <a:bodyPr vert="horz" anchor="ctr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8" name="Рисунок 11">
            <a:extLst>
              <a:ext uri="{FF2B5EF4-FFF2-40B4-BE49-F238E27FC236}">
                <a16:creationId xmlns:a16="http://schemas.microsoft.com/office/drawing/2014/main" id="{04E7D84E-C127-D102-444F-89B3A7589EF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63794" y="4612165"/>
            <a:ext cx="1427749" cy="1427749"/>
          </a:xfrm>
          <a:custGeom>
            <a:avLst/>
            <a:gdLst>
              <a:gd name="connsiteX0" fmla="*/ 654159 w 1308318"/>
              <a:gd name="connsiteY0" fmla="*/ 0 h 1308318"/>
              <a:gd name="connsiteX1" fmla="*/ 1308318 w 1308318"/>
              <a:gd name="connsiteY1" fmla="*/ 654159 h 1308318"/>
              <a:gd name="connsiteX2" fmla="*/ 654159 w 1308318"/>
              <a:gd name="connsiteY2" fmla="*/ 1308318 h 1308318"/>
              <a:gd name="connsiteX3" fmla="*/ 0 w 1308318"/>
              <a:gd name="connsiteY3" fmla="*/ 654159 h 1308318"/>
              <a:gd name="connsiteX4" fmla="*/ 654159 w 1308318"/>
              <a:gd name="connsiteY4" fmla="*/ 0 h 1308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08318" h="1308318">
                <a:moveTo>
                  <a:pt x="654159" y="0"/>
                </a:moveTo>
                <a:cubicBezTo>
                  <a:pt x="1015441" y="0"/>
                  <a:pt x="1308318" y="292877"/>
                  <a:pt x="1308318" y="654159"/>
                </a:cubicBezTo>
                <a:cubicBezTo>
                  <a:pt x="1308318" y="1015441"/>
                  <a:pt x="1015441" y="1308318"/>
                  <a:pt x="654159" y="1308318"/>
                </a:cubicBezTo>
                <a:cubicBezTo>
                  <a:pt x="292877" y="1308318"/>
                  <a:pt x="0" y="1015441"/>
                  <a:pt x="0" y="654159"/>
                </a:cubicBezTo>
                <a:cubicBezTo>
                  <a:pt x="0" y="292877"/>
                  <a:pt x="292877" y="0"/>
                  <a:pt x="65415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Фото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58320AFB-DCB1-59DA-2046-9F32EEDF7F1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829562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цитатой №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5">
            <a:extLst>
              <a:ext uri="{FF2B5EF4-FFF2-40B4-BE49-F238E27FC236}">
                <a16:creationId xmlns:a16="http://schemas.microsoft.com/office/drawing/2014/main" id="{A2D0B2C4-C21F-8A6F-4021-AEBC572208F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620000" y="3176"/>
            <a:ext cx="457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Добавьте фотографию</a:t>
            </a: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1895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13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6C307897-E0E4-3E12-C49B-823D8CEBB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2585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2914310"/>
            <a:ext cx="6505257" cy="664797"/>
          </a:xfrm>
        </p:spPr>
        <p:txBody>
          <a:bodyPr/>
          <a:lstStyle>
            <a:lvl1pPr marL="0" indent="0">
              <a:buNone/>
              <a:defRPr sz="4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Цитата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29F31E4-8247-0F1A-E6D5-720E6AEDAEEF}"/>
              </a:ext>
            </a:extLst>
          </p:cNvPr>
          <p:cNvSpPr txBox="1"/>
          <p:nvPr userDrawn="1"/>
        </p:nvSpPr>
        <p:spPr>
          <a:xfrm>
            <a:off x="371679" y="3176"/>
            <a:ext cx="1936428" cy="441659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en-US" sz="28700" dirty="0">
                <a:solidFill>
                  <a:srgbClr val="FF0000"/>
                </a:solidFill>
                <a:latin typeface="+mj-lt"/>
              </a:rPr>
              <a:t>“</a:t>
            </a:r>
            <a:endParaRPr lang="ru-RU" sz="28700" dirty="0">
              <a:solidFill>
                <a:srgbClr val="FF0000"/>
              </a:solidFill>
              <a:latin typeface="+mj-lt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B13E7EC-FA3A-4F5E-8A05-64FBA8E8B98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099172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зыв к действи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1B0B2DD-518D-4337-B971-D5133088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6498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61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1B0B2DD-518D-4337-B971-D5133088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47ED5D45-D6B3-4717-9743-1ABAED0ADAE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MTS LOGO COVER.pdf" descr="MTS LOGO COVER.pdf">
            <a:extLst>
              <a:ext uri="{FF2B5EF4-FFF2-40B4-BE49-F238E27FC236}">
                <a16:creationId xmlns:a16="http://schemas.microsoft.com/office/drawing/2014/main" id="{DBEBCCAB-6CE8-74E2-DDDE-96B924DA00D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91344" y="175056"/>
            <a:ext cx="11808978" cy="6494304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3AE697F-EC61-455A-827E-4D3D99FB8D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442" y="2612435"/>
            <a:ext cx="10585698" cy="1661993"/>
          </a:xfrm>
        </p:spPr>
        <p:txBody>
          <a:bodyPr vert="horz" anchor="ctr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Призыв </a:t>
            </a:r>
            <a:br>
              <a:rPr lang="ru-RU" dirty="0"/>
            </a:br>
            <a:r>
              <a:rPr lang="ru-RU" dirty="0"/>
              <a:t>к действию</a:t>
            </a:r>
          </a:p>
        </p:txBody>
      </p:sp>
    </p:spTree>
    <p:extLst>
      <p:ext uri="{BB962C8B-B14F-4D97-AF65-F5344CB8AC3E}">
        <p14:creationId xmlns:p14="http://schemas.microsoft.com/office/powerpoint/2010/main" val="99748537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зыв к действию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1B0B2DD-518D-4337-B971-D5133088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5869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85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1B0B2DD-518D-4337-B971-D5133088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6753D2D1-200D-4B78-93DF-9EA2AF6688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MTS LOGO COVER.pdf" descr="MTS LOGO COVER.pdf">
            <a:extLst>
              <a:ext uri="{FF2B5EF4-FFF2-40B4-BE49-F238E27FC236}">
                <a16:creationId xmlns:a16="http://schemas.microsoft.com/office/drawing/2014/main" id="{DBEBCCAB-6CE8-74E2-DDDE-96B924DA00D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91344" y="175056"/>
            <a:ext cx="11808978" cy="6494304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Рисунок 3">
            <a:extLst>
              <a:ext uri="{FF2B5EF4-FFF2-40B4-BE49-F238E27FC236}">
                <a16:creationId xmlns:a16="http://schemas.microsoft.com/office/drawing/2014/main" id="{743E8E39-7580-481C-89A5-037E451CB4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96200" y="1772816"/>
            <a:ext cx="3240088" cy="3240088"/>
          </a:xfrm>
        </p:spPr>
        <p:txBody>
          <a:bodyPr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Ваш </a:t>
            </a:r>
            <a:r>
              <a:rPr lang="en-US" dirty="0"/>
              <a:t>QR-</a:t>
            </a:r>
            <a:r>
              <a:rPr lang="ru-RU" dirty="0"/>
              <a:t>код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3AE697F-EC61-455A-827E-4D3D99FB8D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442" y="2612435"/>
            <a:ext cx="7209081" cy="1661993"/>
          </a:xfrm>
        </p:spPr>
        <p:txBody>
          <a:bodyPr vert="horz" anchor="ctr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Призыв </a:t>
            </a:r>
            <a:br>
              <a:rPr lang="ru-RU" dirty="0"/>
            </a:br>
            <a:r>
              <a:rPr lang="ru-RU" dirty="0"/>
              <a:t>к действию</a:t>
            </a:r>
          </a:p>
        </p:txBody>
      </p:sp>
    </p:spTree>
    <p:extLst>
      <p:ext uri="{BB962C8B-B14F-4D97-AF65-F5344CB8AC3E}">
        <p14:creationId xmlns:p14="http://schemas.microsoft.com/office/powerpoint/2010/main" val="332426810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зыв к действию + фото + 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1B0B2DD-518D-4337-B971-D5133088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5266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09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1B0B2DD-518D-4337-B971-D5133088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71AD2430-C042-4F4D-B782-D425F4711A3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MTS LOGO COVER.pdf" descr="MTS LOGO COVER.pdf">
            <a:extLst>
              <a:ext uri="{FF2B5EF4-FFF2-40B4-BE49-F238E27FC236}">
                <a16:creationId xmlns:a16="http://schemas.microsoft.com/office/drawing/2014/main" id="{DBEBCCAB-6CE8-74E2-DDDE-96B924DA00D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91344" y="175056"/>
            <a:ext cx="11808978" cy="6494304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Рисунок 3">
            <a:extLst>
              <a:ext uri="{FF2B5EF4-FFF2-40B4-BE49-F238E27FC236}">
                <a16:creationId xmlns:a16="http://schemas.microsoft.com/office/drawing/2014/main" id="{743E8E39-7580-481C-89A5-037E451CB4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96200" y="1771098"/>
            <a:ext cx="3240088" cy="3240088"/>
          </a:xfrm>
        </p:spPr>
        <p:txBody>
          <a:bodyPr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Ваш </a:t>
            </a:r>
            <a:r>
              <a:rPr lang="en-US" dirty="0"/>
              <a:t>QR-</a:t>
            </a:r>
            <a:r>
              <a:rPr lang="ru-RU" dirty="0"/>
              <a:t>код</a:t>
            </a:r>
          </a:p>
        </p:txBody>
      </p:sp>
      <p:sp>
        <p:nvSpPr>
          <p:cNvPr id="12" name="Текст 10">
            <a:extLst>
              <a:ext uri="{FF2B5EF4-FFF2-40B4-BE49-F238E27FC236}">
                <a16:creationId xmlns:a16="http://schemas.microsoft.com/office/drawing/2014/main" id="{5A3E589A-3555-42CF-A44D-9F4CE6DBD8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362" y="4143557"/>
            <a:ext cx="7031790" cy="431776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4" name="Текст 10">
            <a:extLst>
              <a:ext uri="{FF2B5EF4-FFF2-40B4-BE49-F238E27FC236}">
                <a16:creationId xmlns:a16="http://schemas.microsoft.com/office/drawing/2014/main" id="{20780A22-0FD3-45F4-9F49-0E0B4EDB6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362" y="4581128"/>
            <a:ext cx="7031790" cy="431776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Контакты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9CC5EA9-7B40-575F-5108-C17BA6B266E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442" y="1771098"/>
            <a:ext cx="6779417" cy="1661993"/>
          </a:xfrm>
        </p:spPr>
        <p:txBody>
          <a:bodyPr vert="horz" anchor="t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Призыв </a:t>
            </a:r>
            <a:br>
              <a:rPr lang="ru-RU" dirty="0"/>
            </a:br>
            <a:r>
              <a:rPr lang="ru-RU" dirty="0"/>
              <a:t>к действию</a:t>
            </a:r>
          </a:p>
        </p:txBody>
      </p:sp>
    </p:spTree>
    <p:extLst>
      <p:ext uri="{BB962C8B-B14F-4D97-AF65-F5344CB8AC3E}">
        <p14:creationId xmlns:p14="http://schemas.microsoft.com/office/powerpoint/2010/main" val="391078527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зыв к действию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1B0B2DD-518D-4337-B971-D5133088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9746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33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1B0B2DD-518D-4337-B971-D5133088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D1DAABAE-22F4-4CAF-8588-7056C5D1554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3AE697F-EC61-455A-827E-4D3D99FB8D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442" y="2612435"/>
            <a:ext cx="10585698" cy="1661993"/>
          </a:xfrm>
        </p:spPr>
        <p:txBody>
          <a:bodyPr vert="horz" anchor="ctr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Призыв </a:t>
            </a:r>
            <a:br>
              <a:rPr lang="ru-RU" dirty="0"/>
            </a:br>
            <a:r>
              <a:rPr lang="ru-RU" dirty="0"/>
              <a:t>к действию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2AD7A46-6862-360C-6D26-D75F7DE6940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158328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зыв к действию + фото №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1B0B2DD-518D-4337-B971-D5133088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3805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57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1B0B2DD-518D-4337-B971-D5133088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492E1A6-25EE-448B-846F-C3F81CCA262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Рисунок 3">
            <a:extLst>
              <a:ext uri="{FF2B5EF4-FFF2-40B4-BE49-F238E27FC236}">
                <a16:creationId xmlns:a16="http://schemas.microsoft.com/office/drawing/2014/main" id="{743E8E39-7580-481C-89A5-037E451CB4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96200" y="1772816"/>
            <a:ext cx="3240088" cy="3240088"/>
          </a:xfrm>
        </p:spPr>
        <p:txBody>
          <a:bodyPr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Ваш </a:t>
            </a:r>
            <a:r>
              <a:rPr lang="en-US" dirty="0"/>
              <a:t>QR-</a:t>
            </a:r>
            <a:r>
              <a:rPr lang="ru-RU" dirty="0"/>
              <a:t>код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3AE697F-EC61-455A-827E-4D3D99FB8D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442" y="2612435"/>
            <a:ext cx="7240863" cy="1661993"/>
          </a:xfrm>
        </p:spPr>
        <p:txBody>
          <a:bodyPr vert="horz" anchor="ctr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Призыв </a:t>
            </a:r>
            <a:br>
              <a:rPr lang="ru-RU" dirty="0"/>
            </a:br>
            <a:r>
              <a:rPr lang="ru-RU" dirty="0"/>
              <a:t>к действию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24EB91C-02D4-39BD-4057-204967DDBBB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13389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зыв к действию + фото + контакты 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1B0B2DD-518D-4337-B971-D5133088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9031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81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1B0B2DD-518D-4337-B971-D5133088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9E91C715-F72D-4E42-8206-E1B8CC4ADA3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Рисунок 3">
            <a:extLst>
              <a:ext uri="{FF2B5EF4-FFF2-40B4-BE49-F238E27FC236}">
                <a16:creationId xmlns:a16="http://schemas.microsoft.com/office/drawing/2014/main" id="{743E8E39-7580-481C-89A5-037E451CB4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96200" y="1771098"/>
            <a:ext cx="3240088" cy="3240088"/>
          </a:xfrm>
        </p:spPr>
        <p:txBody>
          <a:bodyPr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Ваш </a:t>
            </a:r>
            <a:r>
              <a:rPr lang="en-US" dirty="0"/>
              <a:t>QR-</a:t>
            </a:r>
            <a:r>
              <a:rPr lang="ru-RU" dirty="0"/>
              <a:t>код</a:t>
            </a:r>
          </a:p>
        </p:txBody>
      </p:sp>
      <p:sp>
        <p:nvSpPr>
          <p:cNvPr id="12" name="Текст 10">
            <a:extLst>
              <a:ext uri="{FF2B5EF4-FFF2-40B4-BE49-F238E27FC236}">
                <a16:creationId xmlns:a16="http://schemas.microsoft.com/office/drawing/2014/main" id="{5A3E589A-3555-42CF-A44D-9F4CE6DBD8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362" y="4143557"/>
            <a:ext cx="7031790" cy="431776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4" name="Текст 10">
            <a:extLst>
              <a:ext uri="{FF2B5EF4-FFF2-40B4-BE49-F238E27FC236}">
                <a16:creationId xmlns:a16="http://schemas.microsoft.com/office/drawing/2014/main" id="{20780A22-0FD3-45F4-9F49-0E0B4EDB6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362" y="4581128"/>
            <a:ext cx="7031790" cy="431776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Контакты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9CC5EA9-7B40-575F-5108-C17BA6B266E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442" y="1771098"/>
            <a:ext cx="6779417" cy="1661993"/>
          </a:xfrm>
        </p:spPr>
        <p:txBody>
          <a:bodyPr vert="horz" anchor="t"/>
          <a:lstStyle>
            <a:lvl1pPr algn="l">
              <a:defRPr sz="60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Призыв </a:t>
            </a:r>
            <a:br>
              <a:rPr lang="ru-RU" dirty="0"/>
            </a:br>
            <a:r>
              <a:rPr lang="ru-RU" dirty="0"/>
              <a:t>к действию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C7F96DB-0DDA-054C-1AE8-66B51F169D4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3452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Название презентации+ФИО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954DD62C-953D-4C0F-06CA-95413777555E}"/>
              </a:ext>
            </a:extLst>
          </p:cNvPr>
          <p:cNvSpPr/>
          <p:nvPr userDrawn="1"/>
        </p:nvSpPr>
        <p:spPr>
          <a:xfrm>
            <a:off x="3176" y="0"/>
            <a:ext cx="12188823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844CC7F9-0B0E-4524-A46D-059C391596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1085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9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844CC7F9-0B0E-4524-A46D-059C391596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Текст 10">
            <a:extLst>
              <a:ext uri="{FF2B5EF4-FFF2-40B4-BE49-F238E27FC236}">
                <a16:creationId xmlns:a16="http://schemas.microsoft.com/office/drawing/2014/main" id="{D413FE2E-8FDE-CBA6-5E60-B623CFA894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2865" y="5636910"/>
            <a:ext cx="9115726" cy="431775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 dirty="0" smtClean="0">
                <a:solidFill>
                  <a:schemeClr val="tx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6" name="Текст 10">
            <a:extLst>
              <a:ext uri="{FF2B5EF4-FFF2-40B4-BE49-F238E27FC236}">
                <a16:creationId xmlns:a16="http://schemas.microsoft.com/office/drawing/2014/main" id="{AFFAF620-A540-6B5A-7780-AF5DF450613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0668" y="6058090"/>
            <a:ext cx="9115726" cy="296623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000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B5DF8E6B-0436-A53D-5983-B5020AD39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3136" y="2605726"/>
            <a:ext cx="9113921" cy="1661993"/>
          </a:xfrm>
        </p:spPr>
        <p:txBody>
          <a:bodyPr vert="horz" anchor="ctr"/>
          <a:lstStyle>
            <a:lvl1pPr algn="l">
              <a:defRPr sz="6000">
                <a:solidFill>
                  <a:schemeClr val="tx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EE0D512-C4DC-22E6-956F-9B5C0B5DAFE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5464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B0C30AF3-9056-491C-B9BB-100F1D217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7966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3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B0C30AF3-9056-491C-B9BB-100F1D217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9BC7A9A-59C9-4796-B68A-F134F70AED5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119B1036-38C4-D94C-C5D6-C283EDD180B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4500" y="4815670"/>
            <a:ext cx="11074224" cy="1658565"/>
          </a:xfrm>
        </p:spPr>
        <p:txBody>
          <a:bodyPr vert="horz" anchor="b"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раздела</a:t>
            </a:r>
          </a:p>
        </p:txBody>
      </p:sp>
    </p:spTree>
    <p:extLst>
      <p:ext uri="{BB962C8B-B14F-4D97-AF65-F5344CB8AC3E}">
        <p14:creationId xmlns:p14="http://schemas.microsoft.com/office/powerpoint/2010/main" val="14607995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 + цифр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8D50984E-FD40-47B6-A392-32BA50772B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6671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7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8D50984E-FD40-47B6-A392-32BA50772B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CAC07A36-375A-4798-B506-C3BA7E57DFA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Текст 6">
            <a:extLst>
              <a:ext uri="{FF2B5EF4-FFF2-40B4-BE49-F238E27FC236}">
                <a16:creationId xmlns:a16="http://schemas.microsoft.com/office/drawing/2014/main" id="{C34303E7-9CBE-9046-F56A-7D1790C4FBD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501" y="548680"/>
            <a:ext cx="2808287" cy="1295400"/>
          </a:xfrm>
        </p:spPr>
        <p:txBody>
          <a:bodyPr>
            <a:noAutofit/>
          </a:bodyPr>
          <a:lstStyle>
            <a:lvl1pPr marL="0" indent="0">
              <a:buNone/>
              <a:defRPr sz="115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5542EEB2-9234-2492-9628-371C8690120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4500" y="4815670"/>
            <a:ext cx="11074224" cy="1658565"/>
          </a:xfrm>
        </p:spPr>
        <p:txBody>
          <a:bodyPr vert="horz" anchor="b">
            <a:noAutofit/>
          </a:bodyPr>
          <a:lstStyle>
            <a:lvl1pPr algn="l">
              <a:defRPr sz="540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раздела</a:t>
            </a:r>
          </a:p>
        </p:txBody>
      </p:sp>
    </p:spTree>
    <p:extLst>
      <p:ext uri="{BB962C8B-B14F-4D97-AF65-F5344CB8AC3E}">
        <p14:creationId xmlns:p14="http://schemas.microsoft.com/office/powerpoint/2010/main" val="26022680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3.sv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9.vml"/><Relationship Id="rId13" Type="http://schemas.openxmlformats.org/officeDocument/2006/relationships/image" Target="../media/image3.svg"/><Relationship Id="rId3" Type="http://schemas.openxmlformats.org/officeDocument/2006/relationships/slideLayout" Target="../slideLayouts/slideLayout10.xml"/><Relationship Id="rId7" Type="http://schemas.openxmlformats.org/officeDocument/2006/relationships/theme" Target="../theme/theme2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2.xml"/><Relationship Id="rId10" Type="http://schemas.openxmlformats.org/officeDocument/2006/relationships/oleObject" Target="../embeddings/oleObject9.bin"/><Relationship Id="rId4" Type="http://schemas.openxmlformats.org/officeDocument/2006/relationships/slideLayout" Target="../slideLayouts/slideLayout11.xml"/><Relationship Id="rId9" Type="http://schemas.openxmlformats.org/officeDocument/2006/relationships/tags" Target="../tags/tag10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slideLayout" Target="../slideLayouts/slideLayout39.xml"/><Relationship Id="rId39" Type="http://schemas.openxmlformats.org/officeDocument/2006/relationships/vmlDrawing" Target="../drawings/vmlDrawing16.vml"/><Relationship Id="rId21" Type="http://schemas.openxmlformats.org/officeDocument/2006/relationships/slideLayout" Target="../slideLayouts/slideLayout34.xml"/><Relationship Id="rId34" Type="http://schemas.openxmlformats.org/officeDocument/2006/relationships/slideLayout" Target="../slideLayouts/slideLayout47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29" Type="http://schemas.openxmlformats.org/officeDocument/2006/relationships/slideLayout" Target="../slideLayouts/slideLayout42.xml"/><Relationship Id="rId41" Type="http://schemas.openxmlformats.org/officeDocument/2006/relationships/oleObject" Target="../embeddings/oleObject16.bin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37.xml"/><Relationship Id="rId32" Type="http://schemas.openxmlformats.org/officeDocument/2006/relationships/slideLayout" Target="../slideLayouts/slideLayout45.xml"/><Relationship Id="rId37" Type="http://schemas.openxmlformats.org/officeDocument/2006/relationships/slideLayout" Target="../slideLayouts/slideLayout50.xml"/><Relationship Id="rId40" Type="http://schemas.openxmlformats.org/officeDocument/2006/relationships/tags" Target="../tags/tag17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28" Type="http://schemas.openxmlformats.org/officeDocument/2006/relationships/slideLayout" Target="../slideLayouts/slideLayout41.xml"/><Relationship Id="rId36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31" Type="http://schemas.openxmlformats.org/officeDocument/2006/relationships/slideLayout" Target="../slideLayouts/slideLayout44.xml"/><Relationship Id="rId44" Type="http://schemas.openxmlformats.org/officeDocument/2006/relationships/image" Target="../media/image3.svg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Relationship Id="rId27" Type="http://schemas.openxmlformats.org/officeDocument/2006/relationships/slideLayout" Target="../slideLayouts/slideLayout40.xml"/><Relationship Id="rId30" Type="http://schemas.openxmlformats.org/officeDocument/2006/relationships/slideLayout" Target="../slideLayouts/slideLayout43.xml"/><Relationship Id="rId35" Type="http://schemas.openxmlformats.org/officeDocument/2006/relationships/slideLayout" Target="../slideLayouts/slideLayout48.xml"/><Relationship Id="rId43" Type="http://schemas.openxmlformats.org/officeDocument/2006/relationships/image" Target="../media/image2.png"/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slideLayout" Target="../slideLayouts/slideLayout38.xml"/><Relationship Id="rId33" Type="http://schemas.openxmlformats.org/officeDocument/2006/relationships/slideLayout" Target="../slideLayouts/slideLayout46.xml"/><Relationship Id="rId38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oleObject" Target="../embeddings/oleObject54.bin"/><Relationship Id="rId5" Type="http://schemas.openxmlformats.org/officeDocument/2006/relationships/slideLayout" Target="../slideLayouts/slideLayout55.xml"/><Relationship Id="rId10" Type="http://schemas.openxmlformats.org/officeDocument/2006/relationships/tags" Target="../tags/tag55.xml"/><Relationship Id="rId4" Type="http://schemas.openxmlformats.org/officeDocument/2006/relationships/slideLayout" Target="../slideLayouts/slideLayout54.xml"/><Relationship Id="rId9" Type="http://schemas.openxmlformats.org/officeDocument/2006/relationships/vmlDrawing" Target="../drawings/vmlDrawing54.vml"/><Relationship Id="rId14" Type="http://schemas.openxmlformats.org/officeDocument/2006/relationships/image" Target="../media/image3.sv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60.xml"/><Relationship Id="rId7" Type="http://schemas.openxmlformats.org/officeDocument/2006/relationships/oleObject" Target="../embeddings/oleObject62.bin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tags" Target="../tags/tag63.xml"/><Relationship Id="rId5" Type="http://schemas.openxmlformats.org/officeDocument/2006/relationships/vmlDrawing" Target="../drawings/vmlDrawing62.vml"/><Relationship Id="rId10" Type="http://schemas.openxmlformats.org/officeDocument/2006/relationships/image" Target="../media/image3.svg"/><Relationship Id="rId4" Type="http://schemas.openxmlformats.org/officeDocument/2006/relationships/theme" Target="../theme/theme5.xml"/><Relationship Id="rId9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6.vml"/><Relationship Id="rId13" Type="http://schemas.openxmlformats.org/officeDocument/2006/relationships/image" Target="../media/image3.svg"/><Relationship Id="rId3" Type="http://schemas.openxmlformats.org/officeDocument/2006/relationships/slideLayout" Target="../slideLayouts/slideLayout63.xml"/><Relationship Id="rId7" Type="http://schemas.openxmlformats.org/officeDocument/2006/relationships/theme" Target="../theme/theme6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5.xml"/><Relationship Id="rId10" Type="http://schemas.openxmlformats.org/officeDocument/2006/relationships/oleObject" Target="../embeddings/oleObject66.bin"/><Relationship Id="rId4" Type="http://schemas.openxmlformats.org/officeDocument/2006/relationships/slideLayout" Target="../slideLayouts/slideLayout64.xml"/><Relationship Id="rId9" Type="http://schemas.openxmlformats.org/officeDocument/2006/relationships/tags" Target="../tags/tag6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78A868DE-FF66-4A8B-8360-075E22924E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823984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1" name="Слайд think-cell" r:id="rId11" imgW="425" imgH="424" progId="TCLayout.ActiveDocument.1">
                  <p:embed/>
                </p:oleObj>
              </mc:Choice>
              <mc:Fallback>
                <p:oleObj name="Слайд think-cell" r:id="rId11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7DA576A-2F06-D937-AC17-2BC4524BF9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968" y="497552"/>
            <a:ext cx="10515600" cy="60939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461D7D4-A694-BE00-02B7-F8AC7A4EA3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6925" y="1825625"/>
            <a:ext cx="10515600" cy="3877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3ABB935-CD26-F9B5-F08C-B666D25B87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709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25" name="Номер слайда 5">
            <a:extLst>
              <a:ext uri="{FF2B5EF4-FFF2-40B4-BE49-F238E27FC236}">
                <a16:creationId xmlns:a16="http://schemas.microsoft.com/office/drawing/2014/main" id="{484E6925-1857-ADAE-5E59-696194B892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640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49FCD95-09B2-E7D0-AD7A-D7DE5D4042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B13E7EC-FA3A-4F5E-8A05-64FBA8E8B989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6645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2" r:id="rId2"/>
    <p:sldLayoutId id="2147483691" r:id="rId3"/>
    <p:sldLayoutId id="2147483693" r:id="rId4"/>
    <p:sldLayoutId id="2147483705" r:id="rId5"/>
    <p:sldLayoutId id="2147483706" r:id="rId6"/>
    <p:sldLayoutId id="2147483707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MTS Extended Medium" panose="020B0306020102020303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MTS Text" panose="020B0306020102020303" pitchFamily="34" charset="0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MTS Text" panose="020B0306020102020303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347" userDrawn="1">
          <p15:clr>
            <a:srgbClr val="F26B43"/>
          </p15:clr>
        </p15:guide>
        <p15:guide id="4" pos="7333" userDrawn="1">
          <p15:clr>
            <a:srgbClr val="F26B43"/>
          </p15:clr>
        </p15:guide>
        <p15:guide id="5" orient="horz" pos="346" userDrawn="1">
          <p15:clr>
            <a:srgbClr val="F26B43"/>
          </p15:clr>
        </p15:guide>
        <p15:guide id="6" orient="horz" pos="397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78A868DE-FF66-4A8B-8360-075E22924E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666335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9" name="Слайд think-cell" r:id="rId10" imgW="425" imgH="424" progId="TCLayout.ActiveDocument.1">
                  <p:embed/>
                </p:oleObj>
              </mc:Choice>
              <mc:Fallback>
                <p:oleObj name="Слайд think-cell" r:id="rId10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78A868DE-FF66-4A8B-8360-075E22924E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7DA576A-2F06-D937-AC17-2BC4524BF9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968" y="497552"/>
            <a:ext cx="10515600" cy="60939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461D7D4-A694-BE00-02B7-F8AC7A4EA3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6925" y="1825625"/>
            <a:ext cx="10515600" cy="3877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3ABB935-CD26-F9B5-F08C-B666D25B87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709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25" name="Номер слайда 5">
            <a:extLst>
              <a:ext uri="{FF2B5EF4-FFF2-40B4-BE49-F238E27FC236}">
                <a16:creationId xmlns:a16="http://schemas.microsoft.com/office/drawing/2014/main" id="{484E6925-1857-ADAE-5E59-696194B892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640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49FCD95-09B2-E7D0-AD7A-D7DE5D4042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384B6870-FD1D-426B-98FF-516F703E2187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77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MTS Extended Medium" panose="020B0306020102020303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MTS Text" panose="020B0306020102020303" pitchFamily="34" charset="0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MTS Text" panose="020B0306020102020303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47">
          <p15:clr>
            <a:srgbClr val="F26B43"/>
          </p15:clr>
        </p15:guide>
        <p15:guide id="4" pos="7333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97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78A868DE-FF66-4A8B-8360-075E22924E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2227418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7" name="Слайд think-cell" r:id="rId41" imgW="425" imgH="424" progId="TCLayout.ActiveDocument.1">
                  <p:embed/>
                </p:oleObj>
              </mc:Choice>
              <mc:Fallback>
                <p:oleObj name="Слайд think-cell" r:id="rId41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78A868DE-FF66-4A8B-8360-075E22924E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7DA576A-2F06-D937-AC17-2BC4524BF9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968" y="497552"/>
            <a:ext cx="10515600" cy="60939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461D7D4-A694-BE00-02B7-F8AC7A4EA3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6925" y="1825625"/>
            <a:ext cx="10515600" cy="3877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3ABB935-CD26-F9B5-F08C-B666D25B87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709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25" name="Номер слайда 5">
            <a:extLst>
              <a:ext uri="{FF2B5EF4-FFF2-40B4-BE49-F238E27FC236}">
                <a16:creationId xmlns:a16="http://schemas.microsoft.com/office/drawing/2014/main" id="{484E6925-1857-ADAE-5E59-696194B892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640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49FCD95-09B2-E7D0-AD7A-D7DE5D4042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088E8C21-A802-4498-B9FD-74E5319ACE71}"/>
              </a:ext>
            </a:extLst>
          </p:cNvPr>
          <p:cNvPicPr>
            <a:picLocks noChangeAspect="1"/>
          </p:cNvPicPr>
          <p:nvPr userDrawn="1"/>
        </p:nvPicPr>
        <p:blipFill>
          <a:blip r:embed="rId4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007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825" r:id="rId3"/>
    <p:sldLayoutId id="2147483827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3" r:id="rId10"/>
    <p:sldLayoutId id="2147483762" r:id="rId11"/>
    <p:sldLayoutId id="2147483765" r:id="rId12"/>
    <p:sldLayoutId id="2147483764" r:id="rId13"/>
    <p:sldLayoutId id="2147483766" r:id="rId14"/>
    <p:sldLayoutId id="2147483767" r:id="rId15"/>
    <p:sldLayoutId id="2147483768" r:id="rId16"/>
    <p:sldLayoutId id="2147483812" r:id="rId17"/>
    <p:sldLayoutId id="2147483813" r:id="rId18"/>
    <p:sldLayoutId id="2147483814" r:id="rId19"/>
    <p:sldLayoutId id="2147483815" r:id="rId20"/>
    <p:sldLayoutId id="2147483796" r:id="rId21"/>
    <p:sldLayoutId id="2147483797" r:id="rId22"/>
    <p:sldLayoutId id="2147483801" r:id="rId23"/>
    <p:sldLayoutId id="2147483806" r:id="rId24"/>
    <p:sldLayoutId id="2147483805" r:id="rId25"/>
    <p:sldLayoutId id="2147483804" r:id="rId26"/>
    <p:sldLayoutId id="2147483808" r:id="rId27"/>
    <p:sldLayoutId id="2147483807" r:id="rId28"/>
    <p:sldLayoutId id="2147483803" r:id="rId29"/>
    <p:sldLayoutId id="2147483802" r:id="rId30"/>
    <p:sldLayoutId id="2147483798" r:id="rId31"/>
    <p:sldLayoutId id="2147483799" r:id="rId32"/>
    <p:sldLayoutId id="2147483816" r:id="rId33"/>
    <p:sldLayoutId id="2147483817" r:id="rId34"/>
    <p:sldLayoutId id="2147483818" r:id="rId35"/>
    <p:sldLayoutId id="2147483819" r:id="rId36"/>
    <p:sldLayoutId id="2147483820" r:id="rId3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MTS Extended Medium" panose="020B0306020102020303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MTS Text" panose="020B0306020102020303" pitchFamily="34" charset="0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MTS Text" panose="020B0306020102020303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47">
          <p15:clr>
            <a:srgbClr val="F26B43"/>
          </p15:clr>
        </p15:guide>
        <p15:guide id="4" pos="7333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97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78A868DE-FF66-4A8B-8360-075E22924E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552567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49" name="Слайд think-cell" r:id="rId11" imgW="425" imgH="424" progId="TCLayout.ActiveDocument.1">
                  <p:embed/>
                </p:oleObj>
              </mc:Choice>
              <mc:Fallback>
                <p:oleObj name="Слайд think-cell" r:id="rId11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78A868DE-FF66-4A8B-8360-075E22924E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7DA576A-2F06-D937-AC17-2BC4524BF9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968" y="497552"/>
            <a:ext cx="10515600" cy="60939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461D7D4-A694-BE00-02B7-F8AC7A4EA3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6925" y="1825625"/>
            <a:ext cx="10515600" cy="3877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3ABB935-CD26-F9B5-F08C-B666D25B87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709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25" name="Номер слайда 5">
            <a:extLst>
              <a:ext uri="{FF2B5EF4-FFF2-40B4-BE49-F238E27FC236}">
                <a16:creationId xmlns:a16="http://schemas.microsoft.com/office/drawing/2014/main" id="{484E6925-1857-ADAE-5E59-696194B892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640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49FCD95-09B2-E7D0-AD7A-D7DE5D4042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088E8C21-A802-4498-B9FD-74E5319ACE71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9502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MTS Extended Medium" panose="020B0306020102020303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MTS Text" panose="020B0306020102020303" pitchFamily="34" charset="0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MTS Text" panose="020B0306020102020303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47">
          <p15:clr>
            <a:srgbClr val="F26B43"/>
          </p15:clr>
        </p15:guide>
        <p15:guide id="4" pos="7333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974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78A868DE-FF66-4A8B-8360-075E22924E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131991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41" name="Слайд think-cell" r:id="rId7" imgW="425" imgH="424" progId="TCLayout.ActiveDocument.1">
                  <p:embed/>
                </p:oleObj>
              </mc:Choice>
              <mc:Fallback>
                <p:oleObj name="Слайд think-cell" r:id="rId7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78A868DE-FF66-4A8B-8360-075E22924E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7DA576A-2F06-D937-AC17-2BC4524BF9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968" y="497552"/>
            <a:ext cx="10515600" cy="60939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461D7D4-A694-BE00-02B7-F8AC7A4EA3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6925" y="1825625"/>
            <a:ext cx="10515600" cy="3877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3ABB935-CD26-F9B5-F08C-B666D25B87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709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25" name="Номер слайда 5">
            <a:extLst>
              <a:ext uri="{FF2B5EF4-FFF2-40B4-BE49-F238E27FC236}">
                <a16:creationId xmlns:a16="http://schemas.microsoft.com/office/drawing/2014/main" id="{484E6925-1857-ADAE-5E59-696194B892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640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49FCD95-09B2-E7D0-AD7A-D7DE5D4042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088E8C21-A802-4498-B9FD-74E5319ACE71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13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MTS Extended Medium" panose="020B0306020102020303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MTS Text" panose="020B0306020102020303" pitchFamily="34" charset="0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MTS Text" panose="020B0306020102020303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47">
          <p15:clr>
            <a:srgbClr val="F26B43"/>
          </p15:clr>
        </p15:guide>
        <p15:guide id="4" pos="7333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974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78A868DE-FF66-4A8B-8360-075E22924E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069472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7" name="Слайд think-cell" r:id="rId10" imgW="425" imgH="424" progId="TCLayout.ActiveDocument.1">
                  <p:embed/>
                </p:oleObj>
              </mc:Choice>
              <mc:Fallback>
                <p:oleObj name="Слайд think-cell" r:id="rId10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78A868DE-FF66-4A8B-8360-075E22924E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7DA576A-2F06-D937-AC17-2BC4524BF9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968" y="497552"/>
            <a:ext cx="10515600" cy="60939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461D7D4-A694-BE00-02B7-F8AC7A4EA3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6925" y="1825625"/>
            <a:ext cx="10515600" cy="3877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3ABB935-CD26-F9B5-F08C-B666D25B87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709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25" name="Номер слайда 5">
            <a:extLst>
              <a:ext uri="{FF2B5EF4-FFF2-40B4-BE49-F238E27FC236}">
                <a16:creationId xmlns:a16="http://schemas.microsoft.com/office/drawing/2014/main" id="{484E6925-1857-ADAE-5E59-696194B892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640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fld id="{A4CBB8EF-41D6-48CB-BE32-932598980AB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49FCD95-09B2-E7D0-AD7A-D7DE5D4042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B13E7EC-FA3A-4F5E-8A05-64FBA8E8B989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428799" y="0"/>
            <a:ext cx="763200" cy="7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420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MTS Extended Medium" panose="020B0306020102020303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MTS Text" panose="020B0306020102020303" pitchFamily="34" charset="0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MTS Text" panose="020B0306020102020303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47">
          <p15:clr>
            <a:srgbClr val="F26B43"/>
          </p15:clr>
        </p15:guide>
        <p15:guide id="4" pos="7333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39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4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file:///C:\Users\sypechniko\Desktop\&#1079;&#1072;&#1076;&#1072;&#1095;&#1080;%20dwh\products.csv" TargetMode="External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9.wmf"/><Relationship Id="rId2" Type="http://schemas.openxmlformats.org/officeDocument/2006/relationships/tags" Target="../tags/tag75.xml"/><Relationship Id="rId1" Type="http://schemas.openxmlformats.org/officeDocument/2006/relationships/vmlDrawing" Target="../drawings/vmlDrawing74.vml"/><Relationship Id="rId6" Type="http://schemas.openxmlformats.org/officeDocument/2006/relationships/oleObject" Target="file:///C:\Users\sypechniko\AppData\Local\Microsoft\Windows\INetCache\Content.Outlook\UD2EM2CY\%3f%3f%3f" TargetMode="Externa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4.bin"/><Relationship Id="rId9" Type="http://schemas.openxmlformats.org/officeDocument/2006/relationships/image" Target="../media/image10.w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wmf"/><Relationship Id="rId3" Type="http://schemas.openxmlformats.org/officeDocument/2006/relationships/slideLayout" Target="../slideLayouts/slideLayout18.xml"/><Relationship Id="rId7" Type="http://schemas.openxmlformats.org/officeDocument/2006/relationships/package" Target="../embeddings/Microsoft_Excel_Worksheet.xlsx"/><Relationship Id="rId2" Type="http://schemas.openxmlformats.org/officeDocument/2006/relationships/tags" Target="../tags/tag76.xml"/><Relationship Id="rId1" Type="http://schemas.openxmlformats.org/officeDocument/2006/relationships/vmlDrawing" Target="../drawings/vmlDrawing75.vml"/><Relationship Id="rId6" Type="http://schemas.openxmlformats.org/officeDocument/2006/relationships/hyperlink" Target="https://antitreningi.ru/student/file/c266347/l5940048/f19530275/Screen_Shot_2023-01-17_at_21.55..png" TargetMode="Externa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2.wmf"/><Relationship Id="rId2" Type="http://schemas.openxmlformats.org/officeDocument/2006/relationships/tags" Target="../tags/tag77.xml"/><Relationship Id="rId1" Type="http://schemas.openxmlformats.org/officeDocument/2006/relationships/vmlDrawing" Target="../drawings/vmlDrawing76.vml"/><Relationship Id="rId6" Type="http://schemas.openxmlformats.org/officeDocument/2006/relationships/oleObject" Target="file:///C:\Users\sypechniko\Downloads\StudentsPerformanceFinal.xlsx" TargetMode="Externa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3856D3BA-1EF2-4DA1-99CA-91FFE5CA50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0074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801" name="Слайд think-cell" r:id="rId5" imgW="425" imgH="424" progId="TCLayout.ActiveDocument.1">
                  <p:embed/>
                </p:oleObj>
              </mc:Choice>
              <mc:Fallback>
                <p:oleObj name="Слайд think-cell" r:id="rId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56987ECA-BC3C-6ED2-843D-4456265A65F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3136" y="5667584"/>
            <a:ext cx="9113921" cy="830997"/>
          </a:xfrm>
        </p:spPr>
        <p:txBody>
          <a:bodyPr vert="horz"/>
          <a:lstStyle/>
          <a:p>
            <a:r>
              <a:rPr lang="en-US" dirty="0"/>
              <a:t>Hard skill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975337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D8F92F66-77A3-4B79-891D-1ED9AFA7E5D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889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65" name="Слайд think-cell" r:id="rId4" imgW="592" imgH="591" progId="TCLayout.ActiveDocument.1">
                  <p:embed/>
                </p:oleObj>
              </mc:Choice>
              <mc:Fallback>
                <p:oleObj name="Слайд think-cell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E729C509-E247-43C9-ACD4-5902180A49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CBB8EF-41D6-48CB-BE32-932598980AB4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5D7913BE-14A7-4337-A3CC-6B8951BE56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Описание данных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C94A0AF-D65C-47F4-99AD-F9DDD57ED1A9}"/>
              </a:ext>
            </a:extLst>
          </p:cNvPr>
          <p:cNvSpPr txBox="1"/>
          <p:nvPr/>
        </p:nvSpPr>
        <p:spPr>
          <a:xfrm>
            <a:off x="450138" y="1174050"/>
            <a:ext cx="11136007" cy="43088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/>
              <a:t>У вас есть два источника данных:</a:t>
            </a:r>
          </a:p>
          <a:p>
            <a:pPr lvl="0"/>
            <a:r>
              <a:rPr lang="ru-RU" sz="1400" b="1" dirty="0"/>
              <a:t>products.csv</a:t>
            </a:r>
            <a:r>
              <a:rPr lang="ru-RU" sz="1400" dirty="0"/>
              <a:t> с информацией о продуктах.</a:t>
            </a:r>
          </a:p>
          <a:p>
            <a:pPr lvl="0"/>
            <a:r>
              <a:rPr lang="ru-RU" sz="1400" b="1" dirty="0" err="1"/>
              <a:t>sales.json</a:t>
            </a:r>
            <a:r>
              <a:rPr lang="ru-RU" sz="1400" dirty="0"/>
              <a:t>, содержащий данные о продажах.</a:t>
            </a:r>
          </a:p>
          <a:p>
            <a:r>
              <a:rPr lang="ru-RU" sz="1400" dirty="0"/>
              <a:t>Напишите скрипт на </a:t>
            </a:r>
            <a:r>
              <a:rPr lang="ru-RU" sz="1400" dirty="0" err="1"/>
              <a:t>Python</a:t>
            </a:r>
            <a:r>
              <a:rPr lang="ru-RU" sz="1400" dirty="0"/>
              <a:t>, который выполнит следующие задачи:</a:t>
            </a:r>
          </a:p>
          <a:p>
            <a:pPr lvl="0"/>
            <a:r>
              <a:rPr lang="ru-RU" sz="1400" dirty="0"/>
              <a:t>Загрузите данные из обоих файлов в соответствующие </a:t>
            </a:r>
            <a:r>
              <a:rPr lang="ru-RU" sz="1400" dirty="0" err="1"/>
              <a:t>DataFrame</a:t>
            </a:r>
            <a:r>
              <a:rPr lang="ru-RU" sz="1400" dirty="0"/>
              <a:t> с использованием библиотеки </a:t>
            </a:r>
            <a:r>
              <a:rPr lang="ru-RU" sz="1400" dirty="0" err="1"/>
              <a:t>pandas</a:t>
            </a:r>
            <a:r>
              <a:rPr lang="ru-RU" sz="1400" dirty="0"/>
              <a:t>.</a:t>
            </a:r>
          </a:p>
          <a:p>
            <a:pPr lvl="0"/>
            <a:r>
              <a:rPr lang="ru-RU" sz="1400" dirty="0"/>
              <a:t>Объедините данные о продажах и продуктах по </a:t>
            </a:r>
            <a:r>
              <a:rPr lang="ru-RU" sz="1400" dirty="0" err="1"/>
              <a:t>ProductID</a:t>
            </a:r>
            <a:r>
              <a:rPr lang="ru-RU" sz="1400" dirty="0"/>
              <a:t>, чтобы получить полную информацию о каждой продаже, включая название продукта и категорию.</a:t>
            </a:r>
          </a:p>
          <a:p>
            <a:pPr lvl="0"/>
            <a:r>
              <a:rPr lang="ru-RU" sz="1400" dirty="0"/>
              <a:t>Рассчитайте общий объем продаж и среднюю цену продажи для каждой категории продуктов.</a:t>
            </a:r>
          </a:p>
          <a:p>
            <a:pPr lvl="0"/>
            <a:r>
              <a:rPr lang="ru-RU" sz="1400" dirty="0"/>
              <a:t>Сохраните результаты в новый CSV-файл </a:t>
            </a:r>
            <a:r>
              <a:rPr lang="ru-RU" sz="1400" b="1" dirty="0"/>
              <a:t>category_sales_summary.csv</a:t>
            </a:r>
            <a:r>
              <a:rPr lang="ru-RU" sz="1400" dirty="0"/>
              <a:t> с четырьмя столбцами: </a:t>
            </a:r>
            <a:r>
              <a:rPr lang="ru-RU" sz="1400" dirty="0" err="1"/>
              <a:t>Category</a:t>
            </a:r>
            <a:r>
              <a:rPr lang="ru-RU" sz="1400" dirty="0"/>
              <a:t>, </a:t>
            </a:r>
            <a:r>
              <a:rPr lang="ru-RU" sz="1400" dirty="0" err="1"/>
              <a:t>Total_Sales</a:t>
            </a:r>
            <a:r>
              <a:rPr lang="ru-RU" sz="1400" dirty="0"/>
              <a:t>, </a:t>
            </a:r>
            <a:r>
              <a:rPr lang="ru-RU" sz="1400" dirty="0" err="1"/>
              <a:t>Average_Price</a:t>
            </a:r>
            <a:r>
              <a:rPr lang="ru-RU" sz="1400" dirty="0"/>
              <a:t>, </a:t>
            </a:r>
            <a:r>
              <a:rPr lang="ru-RU" sz="1400" dirty="0" err="1"/>
              <a:t>Total_Quantity_Sold</a:t>
            </a:r>
            <a:r>
              <a:rPr lang="ru-RU" sz="1400" dirty="0"/>
              <a:t>.</a:t>
            </a:r>
          </a:p>
          <a:p>
            <a:pPr lvl="0"/>
            <a:r>
              <a:rPr lang="ru-RU" sz="1400" dirty="0"/>
              <a:t>Напишите функцию, которая принимает название категории в качестве аргумента и выводит топ-3 продукта по объему продаж в этой категории.</a:t>
            </a:r>
          </a:p>
          <a:p>
            <a:pPr lvl="0"/>
            <a:endParaRPr lang="ru-RU" sz="1400" dirty="0"/>
          </a:p>
          <a:p>
            <a:pPr lvl="0"/>
            <a:endParaRPr lang="ru-RU" sz="1400" dirty="0"/>
          </a:p>
          <a:p>
            <a:pPr lvl="0"/>
            <a:endParaRPr lang="ru-RU" sz="1400" dirty="0"/>
          </a:p>
          <a:p>
            <a:r>
              <a:rPr lang="ru-RU" sz="1400" dirty="0"/>
              <a:t>* Выполните дополнительно п.3, п.4, п.5, добавив разбивку по месяцам</a:t>
            </a:r>
          </a:p>
          <a:p>
            <a:r>
              <a:rPr lang="ru-RU" sz="1400" dirty="0"/>
              <a:t>Дополнительно:</a:t>
            </a:r>
          </a:p>
          <a:p>
            <a:pPr lvl="0"/>
            <a:r>
              <a:rPr lang="ru-RU" sz="1400" dirty="0"/>
              <a:t>Используйте обработку исключений для управления потенциальными ошибками при чтении файлов и обработке данных.</a:t>
            </a:r>
          </a:p>
          <a:p>
            <a:pPr lvl="0"/>
            <a:r>
              <a:rPr lang="ru-RU" sz="1400" dirty="0"/>
              <a:t>Добавьте логирование (библиотека </a:t>
            </a:r>
            <a:r>
              <a:rPr lang="en-US" sz="1400" dirty="0"/>
              <a:t>logging</a:t>
            </a:r>
            <a:r>
              <a:rPr lang="ru-RU" sz="1400" dirty="0"/>
              <a:t>) для отслеживания прогресса выполнения скрипта.</a:t>
            </a:r>
          </a:p>
          <a:p>
            <a:pPr lvl="0"/>
            <a:r>
              <a:rPr lang="ru-RU" sz="1400" dirty="0"/>
              <a:t>* Обеспечьте эффективность вашего кода с точки зрения времени выполнения и использования памяти.</a:t>
            </a:r>
          </a:p>
        </p:txBody>
      </p:sp>
      <p:graphicFrame>
        <p:nvGraphicFramePr>
          <p:cNvPr id="9" name="Объект 8">
            <a:extLst>
              <a:ext uri="{FF2B5EF4-FFF2-40B4-BE49-F238E27FC236}">
                <a16:creationId xmlns:a16="http://schemas.microsoft.com/office/drawing/2014/main" id="{95881314-05D3-4C15-89E6-1F642CB5823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04777554"/>
              </p:ext>
            </p:extLst>
          </p:nvPr>
        </p:nvGraphicFramePr>
        <p:xfrm>
          <a:off x="5675678" y="550519"/>
          <a:ext cx="2184645" cy="5808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66" name="Объект упаковщика для оболочки" showAsIcon="1" r:id="rId6" imgW="1176120" imgH="313200" progId="Package">
                  <p:link updateAutomatic="1"/>
                </p:oleObj>
              </mc:Choice>
              <mc:Fallback>
                <p:oleObj name="Объект упаковщика для оболочки" showAsIcon="1" r:id="rId6" imgW="1176120" imgH="313200" progId="Package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675678" y="550519"/>
                        <a:ext cx="2184645" cy="5808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Объект 9">
            <a:extLst>
              <a:ext uri="{FF2B5EF4-FFF2-40B4-BE49-F238E27FC236}">
                <a16:creationId xmlns:a16="http://schemas.microsoft.com/office/drawing/2014/main" id="{7182A747-F399-43B1-8B9B-9D983C648C6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4812152"/>
              </p:ext>
            </p:extLst>
          </p:nvPr>
        </p:nvGraphicFramePr>
        <p:xfrm>
          <a:off x="7860323" y="565975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67" name="Macro-Enabled Worksheet" showAsIcon="1" r:id="rId8" imgW="914400" imgH="771480" progId="Excel.SheetMacroEnabled.12">
                  <p:link updateAutomatic="1"/>
                </p:oleObj>
              </mc:Choice>
              <mc:Fallback>
                <p:oleObj name="Macro-Enabled Worksheet" showAsIcon="1" r:id="rId8" imgW="914400" imgH="771480" progId="Excel.SheetMacroEnabled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7860323" y="565975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975610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490623C1-3FB8-4AF7-802C-219C83A2DEA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4874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28" name="Слайд think-cell" r:id="rId4" imgW="592" imgH="591" progId="TCLayout.ActiveDocument.1">
                  <p:embed/>
                </p:oleObj>
              </mc:Choice>
              <mc:Fallback>
                <p:oleObj name="Слайд think-cell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8F327B14-63B4-4A17-B15F-6F7AACF625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CBB8EF-41D6-48CB-BE32-932598980AB4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8D556792-A7C6-4951-8606-A4FE1343B1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Описание данных: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5E9E77-3EAF-4A55-AA81-5D40D2B27B06}"/>
              </a:ext>
            </a:extLst>
          </p:cNvPr>
          <p:cNvSpPr txBox="1"/>
          <p:nvPr/>
        </p:nvSpPr>
        <p:spPr>
          <a:xfrm>
            <a:off x="450138" y="1174050"/>
            <a:ext cx="11136007" cy="33855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1"/>
              </a:buClr>
            </a:pP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Вам дан набор данных: список школ и предметов, которые они предлагают</a:t>
            </a:r>
          </a:p>
          <a:p>
            <a:pPr>
              <a:buClr>
                <a:schemeClr val="accent1"/>
              </a:buClr>
            </a:pP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chemeClr val="accent1"/>
              </a:buClr>
            </a:pP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Выполните следующие операции:</a:t>
            </a:r>
          </a:p>
          <a:p>
            <a:pPr>
              <a:buClr>
                <a:schemeClr val="accent1"/>
              </a:buClr>
            </a:pP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chemeClr val="accent1"/>
              </a:buClr>
            </a:pP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1. Удалите все школы, предлагающие менее 3 предметов. </a:t>
            </a:r>
          </a:p>
          <a:p>
            <a:pPr>
              <a:buClr>
                <a:schemeClr val="accent1"/>
              </a:buClr>
            </a:pP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chemeClr val="accent1"/>
              </a:buClr>
            </a:pP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2. Очистите столбец "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state_code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" так, чтобы он содержал только буквенно-цифровые символы.</a:t>
            </a:r>
          </a:p>
          <a:p>
            <a:pPr>
              <a:buClr>
                <a:schemeClr val="accent1"/>
              </a:buClr>
            </a:pP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chemeClr val="accent1"/>
              </a:buClr>
            </a:pP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3. Для каждого штата верните количество школ, предлагающих английский язык, математику, физику и химию (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English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Maths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Physics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Chemistry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), каждую в отдельном столбце.</a:t>
            </a:r>
          </a:p>
          <a:p>
            <a:pPr>
              <a:buClr>
                <a:schemeClr val="accent1"/>
              </a:buClr>
            </a:pP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chemeClr val="accent1"/>
              </a:buClr>
            </a:pP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Описание набора данных:</a:t>
            </a:r>
          </a:p>
          <a:p>
            <a:pPr>
              <a:buClr>
                <a:schemeClr val="accent1"/>
              </a:buClr>
            </a:pP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chemeClr val="accent1"/>
              </a:buClr>
            </a:pP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school_id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: идентификатор школы для каждого ученика </a:t>
            </a:r>
          </a:p>
          <a:p>
            <a:pPr>
              <a:buClr>
                <a:schemeClr val="accent1"/>
              </a:buClr>
            </a:pP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chemeClr val="accent1"/>
              </a:buClr>
            </a:pP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state_code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- уникальный идентификатор для каждого штата </a:t>
            </a:r>
          </a:p>
          <a:p>
            <a:pPr>
              <a:buClr>
                <a:schemeClr val="accent1"/>
              </a:buClr>
            </a:pP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chemeClr val="accent1"/>
              </a:buClr>
            </a:pP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subjects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- сгенерированные через пробел названия предметов, все в нижнем регистре</a:t>
            </a:r>
          </a:p>
          <a:p>
            <a:pPr>
              <a:buClr>
                <a:schemeClr val="accent1"/>
              </a:buClr>
            </a:pP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chemeClr val="accent1"/>
              </a:buClr>
            </a:pP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(Школы с идентификаторами sch_3 и sch_6 были исключены, поскольку в них преподается менее 3 предметов)</a:t>
            </a:r>
          </a:p>
        </p:txBody>
      </p:sp>
      <p:sp>
        <p:nvSpPr>
          <p:cNvPr id="18" name="AutoShape 13" descr="https://antitreningi.ru/student/file/c266347/l5940048/f19530275/Screen_Shot_2023-01-17_at_21.55..png">
            <a:hlinkClick r:id="rId6"/>
            <a:extLst>
              <a:ext uri="{FF2B5EF4-FFF2-40B4-BE49-F238E27FC236}">
                <a16:creationId xmlns:a16="http://schemas.microsoft.com/office/drawing/2014/main" id="{051AF7A7-F1ED-4FB5-B35D-BDE14023CDB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1750" y="9715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aphicFrame>
        <p:nvGraphicFramePr>
          <p:cNvPr id="20" name="Объект 19">
            <a:extLst>
              <a:ext uri="{FF2B5EF4-FFF2-40B4-BE49-F238E27FC236}">
                <a16:creationId xmlns:a16="http://schemas.microsoft.com/office/drawing/2014/main" id="{A4A78D9F-AC17-4052-83BE-D867A13050A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1881192"/>
              </p:ext>
            </p:extLst>
          </p:nvPr>
        </p:nvGraphicFramePr>
        <p:xfrm>
          <a:off x="5902570" y="738187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29" name="Worksheet" showAsIcon="1" r:id="rId7" imgW="914400" imgH="771480" progId="Excel.Sheet.12">
                  <p:embed/>
                </p:oleObj>
              </mc:Choice>
              <mc:Fallback>
                <p:oleObj name="Worksheet" showAsIcon="1" r:id="rId7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5902570" y="738187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780658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EA8C785-B1DD-4ABA-B20C-477F78F3D5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8789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39" name="Слайд think-cell" r:id="rId4" imgW="592" imgH="591" progId="TCLayout.ActiveDocument.1">
                  <p:embed/>
                </p:oleObj>
              </mc:Choice>
              <mc:Fallback>
                <p:oleObj name="Слайд think-cell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B9271426-51A6-418F-9385-EB9E4E4DD8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CBB8EF-41D6-48CB-BE32-932598980AB4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99616F51-63BC-48A2-887F-14B8B9FBEF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Описание данных: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FCDEDF5-DACB-4C11-BA8D-F8C424CF6FCB}"/>
              </a:ext>
            </a:extLst>
          </p:cNvPr>
          <p:cNvSpPr txBox="1"/>
          <p:nvPr/>
        </p:nvSpPr>
        <p:spPr>
          <a:xfrm>
            <a:off x="450138" y="1174050"/>
            <a:ext cx="11136007" cy="50783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1"/>
              </a:buClr>
            </a:pP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Вам дан набор данных: ID студента и 3 его оценки (кол-во баллов набранных из 100 баллов),по 3 различным предметам </a:t>
            </a:r>
          </a:p>
          <a:p>
            <a:pPr>
              <a:buClr>
                <a:schemeClr val="accent1"/>
              </a:buClr>
            </a:pP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chemeClr val="accent1"/>
              </a:buClr>
            </a:pP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StudentsPerformanceFinal.xlsx  (39.8 KB)</a:t>
            </a:r>
          </a:p>
          <a:p>
            <a:pPr>
              <a:buClr>
                <a:schemeClr val="accent1"/>
              </a:buClr>
            </a:pP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student_id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- ID студента</a:t>
            </a:r>
          </a:p>
          <a:p>
            <a:pPr>
              <a:buClr>
                <a:schemeClr val="accent1"/>
              </a:buClr>
            </a:pP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chemeClr val="accent1"/>
              </a:buClr>
            </a:pP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math_score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- оценка по математике,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integer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&lt;= 100</a:t>
            </a:r>
          </a:p>
          <a:p>
            <a:pPr>
              <a:buClr>
                <a:schemeClr val="accent1"/>
              </a:buClr>
            </a:pP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chemeClr val="accent1"/>
              </a:buClr>
            </a:pP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reading_score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- оценка по чтению,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integer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&lt;= 100</a:t>
            </a:r>
          </a:p>
          <a:p>
            <a:pPr>
              <a:buClr>
                <a:schemeClr val="accent1"/>
              </a:buClr>
            </a:pP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chemeClr val="accent1"/>
              </a:buClr>
            </a:pP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writing_score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- оценка по письму,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integer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&lt;= 100</a:t>
            </a:r>
          </a:p>
          <a:p>
            <a:pPr>
              <a:buClr>
                <a:schemeClr val="accent1"/>
              </a:buClr>
            </a:pP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chemeClr val="accent1"/>
              </a:buClr>
            </a:pP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Выполните следующие операции:</a:t>
            </a:r>
          </a:p>
          <a:p>
            <a:pPr>
              <a:buClr>
                <a:schemeClr val="accent1"/>
              </a:buClr>
            </a:pP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chemeClr val="accent1"/>
              </a:buClr>
            </a:pP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1. Удалите всех студентов, у кого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отсутсвуют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оценки по 2 и более предметам</a:t>
            </a:r>
          </a:p>
          <a:p>
            <a:pPr>
              <a:buClr>
                <a:schemeClr val="accent1"/>
              </a:buClr>
            </a:pP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chemeClr val="accent1"/>
              </a:buClr>
            </a:pP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2. Для оставшихся студентов, замените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отсутсвующие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оценки медианой по этому предмету</a:t>
            </a:r>
          </a:p>
          <a:p>
            <a:pPr>
              <a:buClr>
                <a:schemeClr val="accent1"/>
              </a:buClr>
            </a:pP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chemeClr val="accent1"/>
              </a:buClr>
            </a:pP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3. Очистите столбец "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student_id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" так, чтобы он содержал только числа.</a:t>
            </a:r>
          </a:p>
          <a:p>
            <a:pPr>
              <a:buClr>
                <a:schemeClr val="accent1"/>
              </a:buClr>
            </a:pP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chemeClr val="accent1"/>
              </a:buClr>
            </a:pP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4. В отдельной колонке "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weighted_average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", для каждого студента рассчитайте средневзвешенную (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weighted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average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) оценку,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испоьзуя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такие "веса" для предметов:</a:t>
            </a:r>
          </a:p>
          <a:p>
            <a:pPr>
              <a:buClr>
                <a:schemeClr val="accent1"/>
              </a:buClr>
            </a:pP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chemeClr val="accent1"/>
              </a:buClr>
            </a:pP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math_score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= 0.5</a:t>
            </a:r>
          </a:p>
          <a:p>
            <a:pPr>
              <a:buClr>
                <a:schemeClr val="accent1"/>
              </a:buClr>
            </a:pP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chemeClr val="accent1"/>
              </a:buClr>
            </a:pP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reading_score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= 0.2</a:t>
            </a:r>
          </a:p>
          <a:p>
            <a:pPr>
              <a:buClr>
                <a:schemeClr val="accent1"/>
              </a:buClr>
            </a:pP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chemeClr val="accent1"/>
              </a:buClr>
            </a:pP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writing_score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= 0.3</a:t>
            </a:r>
          </a:p>
          <a:p>
            <a:pPr>
              <a:buClr>
                <a:schemeClr val="accent1"/>
              </a:buClr>
            </a:pP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chemeClr val="accent1"/>
              </a:buClr>
            </a:pP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5. Отсортируйте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датафрейм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по средневзвешенной оценке в порядке убывания</a:t>
            </a:r>
          </a:p>
          <a:p>
            <a:pPr>
              <a:buClr>
                <a:schemeClr val="accent1"/>
              </a:buClr>
            </a:pP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chemeClr val="accent1"/>
              </a:buClr>
            </a:pP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6. Отфильтруйте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датафрейм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так, чтобы в результате остались только те студенты, чей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weighted_average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&gt; 70</a:t>
            </a:r>
          </a:p>
        </p:txBody>
      </p:sp>
      <p:graphicFrame>
        <p:nvGraphicFramePr>
          <p:cNvPr id="7" name="Объект 6">
            <a:extLst>
              <a:ext uri="{FF2B5EF4-FFF2-40B4-BE49-F238E27FC236}">
                <a16:creationId xmlns:a16="http://schemas.microsoft.com/office/drawing/2014/main" id="{05076C5F-76B7-4626-87E6-8D252FE7232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20440668"/>
              </p:ext>
            </p:extLst>
          </p:nvPr>
        </p:nvGraphicFramePr>
        <p:xfrm>
          <a:off x="8698523" y="900787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40" name="Worksheet" showAsIcon="1" r:id="rId6" imgW="914400" imgH="771480" progId="Excel.Sheet.12">
                  <p:link updateAutomatic="1"/>
                </p:oleObj>
              </mc:Choice>
              <mc:Fallback>
                <p:oleObj name="Worksheet" showAsIcon="1" r:id="rId6" imgW="914400" imgH="771480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8698523" y="900787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90927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TOC Dividers SectionNumber SlideNumber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итульники">
  <a:themeElements>
    <a:clrScheme name="МТС 202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0032"/>
      </a:accent1>
      <a:accent2>
        <a:srgbClr val="E983F3"/>
      </a:accent2>
      <a:accent3>
        <a:srgbClr val="5FCEFA"/>
      </a:accent3>
      <a:accent4>
        <a:srgbClr val="D8FEAF"/>
      </a:accent4>
      <a:accent5>
        <a:srgbClr val="8E5BDD"/>
      </a:accent5>
      <a:accent6>
        <a:srgbClr val="807FF7"/>
      </a:accent6>
      <a:hlink>
        <a:srgbClr val="2C2DF2"/>
      </a:hlink>
      <a:folHlink>
        <a:srgbClr val="367CE1"/>
      </a:folHlink>
    </a:clrScheme>
    <a:fontScheme name="МТС 2023">
      <a:majorFont>
        <a:latin typeface="MTS Extended Medium"/>
        <a:ea typeface=""/>
        <a:cs typeface=""/>
      </a:majorFont>
      <a:minorFont>
        <a:latin typeface="MTS Tex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bg1">
              <a:lumMod val="75000"/>
            </a:schemeClr>
          </a:solidFill>
        </a:ln>
      </a:spPr>
      <a:bodyPr rtlCol="0" anchor="ctr"/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buClr>
            <a:schemeClr val="accent1"/>
          </a:buCl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Шаблон НОВАЯ ВЕРСИЯ 09_06.pptx" id="{DB04B42C-E94A-4B8B-8A5D-09E2449561C8}" vid="{CD8CC013-EBE6-4178-A022-72C2AB1BD1F2}"/>
    </a:ext>
  </a:extLst>
</a:theme>
</file>

<file path=ppt/theme/theme2.xml><?xml version="1.0" encoding="utf-8"?>
<a:theme xmlns:a="http://schemas.openxmlformats.org/drawingml/2006/main" name="Шмуцтитул">
  <a:themeElements>
    <a:clrScheme name="МТС 202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0032"/>
      </a:accent1>
      <a:accent2>
        <a:srgbClr val="E983F3"/>
      </a:accent2>
      <a:accent3>
        <a:srgbClr val="5FCEFA"/>
      </a:accent3>
      <a:accent4>
        <a:srgbClr val="D8FEAF"/>
      </a:accent4>
      <a:accent5>
        <a:srgbClr val="8E5BDD"/>
      </a:accent5>
      <a:accent6>
        <a:srgbClr val="807FF7"/>
      </a:accent6>
      <a:hlink>
        <a:srgbClr val="2C2DF2"/>
      </a:hlink>
      <a:folHlink>
        <a:srgbClr val="367CE1"/>
      </a:folHlink>
    </a:clrScheme>
    <a:fontScheme name="МТС 2023">
      <a:majorFont>
        <a:latin typeface="MTS Extended Medium"/>
        <a:ea typeface=""/>
        <a:cs typeface=""/>
      </a:majorFont>
      <a:minorFont>
        <a:latin typeface="MTS Tex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bg1">
              <a:lumMod val="75000"/>
            </a:schemeClr>
          </a:solidFill>
        </a:ln>
      </a:spPr>
      <a:bodyPr rtlCol="0" anchor="ctr"/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buClr>
            <a:schemeClr val="accent1"/>
          </a:buCl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Шаблон НОВАЯ ВЕРСИЯ 09_06.pptx" id="{DB04B42C-E94A-4B8B-8A5D-09E2449561C8}" vid="{FA03C437-6324-40EF-8EBD-7A829531ED01}"/>
    </a:ext>
  </a:extLst>
</a:theme>
</file>

<file path=ppt/theme/theme3.xml><?xml version="1.0" encoding="utf-8"?>
<a:theme xmlns:a="http://schemas.openxmlformats.org/drawingml/2006/main" name="Контентные слайды">
  <a:themeElements>
    <a:clrScheme name="МТС 202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0032"/>
      </a:accent1>
      <a:accent2>
        <a:srgbClr val="E983F3"/>
      </a:accent2>
      <a:accent3>
        <a:srgbClr val="5FCEFA"/>
      </a:accent3>
      <a:accent4>
        <a:srgbClr val="D8FEAF"/>
      </a:accent4>
      <a:accent5>
        <a:srgbClr val="8E5BDD"/>
      </a:accent5>
      <a:accent6>
        <a:srgbClr val="807FF7"/>
      </a:accent6>
      <a:hlink>
        <a:srgbClr val="2C2DF2"/>
      </a:hlink>
      <a:folHlink>
        <a:srgbClr val="367CE1"/>
      </a:folHlink>
    </a:clrScheme>
    <a:fontScheme name="МТС 2023">
      <a:majorFont>
        <a:latin typeface="MTS Extended Medium"/>
        <a:ea typeface=""/>
        <a:cs typeface=""/>
      </a:majorFont>
      <a:minorFont>
        <a:latin typeface="MTS Tex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bg1">
              <a:lumMod val="75000"/>
            </a:schemeClr>
          </a:solidFill>
        </a:ln>
      </a:spPr>
      <a:bodyPr rtlCol="0" anchor="ctr"/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buClr>
            <a:schemeClr val="accent1"/>
          </a:buCl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Шаблон НОВАЯ ВЕРСИЯ 09_06.pptx" id="{DB04B42C-E94A-4B8B-8A5D-09E2449561C8}" vid="{EAAC69D8-665C-426A-8380-7899F709CAA9}"/>
    </a:ext>
  </a:extLst>
</a:theme>
</file>

<file path=ppt/theme/theme4.xml><?xml version="1.0" encoding="utf-8"?>
<a:theme xmlns:a="http://schemas.openxmlformats.org/drawingml/2006/main" name="Слайды со спикером и командой">
  <a:themeElements>
    <a:clrScheme name="МТС 202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0032"/>
      </a:accent1>
      <a:accent2>
        <a:srgbClr val="E983F3"/>
      </a:accent2>
      <a:accent3>
        <a:srgbClr val="5FCEFA"/>
      </a:accent3>
      <a:accent4>
        <a:srgbClr val="D8FEAF"/>
      </a:accent4>
      <a:accent5>
        <a:srgbClr val="8E5BDD"/>
      </a:accent5>
      <a:accent6>
        <a:srgbClr val="807FF7"/>
      </a:accent6>
      <a:hlink>
        <a:srgbClr val="2C2DF2"/>
      </a:hlink>
      <a:folHlink>
        <a:srgbClr val="367CE1"/>
      </a:folHlink>
    </a:clrScheme>
    <a:fontScheme name="МТС 2023">
      <a:majorFont>
        <a:latin typeface="MTS Extended Medium"/>
        <a:ea typeface=""/>
        <a:cs typeface=""/>
      </a:majorFont>
      <a:minorFont>
        <a:latin typeface="MTS Tex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bg1">
              <a:lumMod val="75000"/>
            </a:schemeClr>
          </a:solidFill>
        </a:ln>
      </a:spPr>
      <a:bodyPr rtlCol="0" anchor="ctr"/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buClr>
            <a:schemeClr val="accent1"/>
          </a:buCl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Шаблон НОВАЯ ВЕРСИЯ 09_06.pptx" id="{DB04B42C-E94A-4B8B-8A5D-09E2449561C8}" vid="{EAAC69D8-665C-426A-8380-7899F709CAA9}"/>
    </a:ext>
  </a:extLst>
</a:theme>
</file>

<file path=ppt/theme/theme5.xml><?xml version="1.0" encoding="utf-8"?>
<a:theme xmlns:a="http://schemas.openxmlformats.org/drawingml/2006/main" name="Слайды с цитатой">
  <a:themeElements>
    <a:clrScheme name="МТС 202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0032"/>
      </a:accent1>
      <a:accent2>
        <a:srgbClr val="E983F3"/>
      </a:accent2>
      <a:accent3>
        <a:srgbClr val="5FCEFA"/>
      </a:accent3>
      <a:accent4>
        <a:srgbClr val="D8FEAF"/>
      </a:accent4>
      <a:accent5>
        <a:srgbClr val="8E5BDD"/>
      </a:accent5>
      <a:accent6>
        <a:srgbClr val="807FF7"/>
      </a:accent6>
      <a:hlink>
        <a:srgbClr val="2C2DF2"/>
      </a:hlink>
      <a:folHlink>
        <a:srgbClr val="367CE1"/>
      </a:folHlink>
    </a:clrScheme>
    <a:fontScheme name="МТС 2023">
      <a:majorFont>
        <a:latin typeface="MTS Extended Medium"/>
        <a:ea typeface=""/>
        <a:cs typeface=""/>
      </a:majorFont>
      <a:minorFont>
        <a:latin typeface="MTS Tex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bg1">
              <a:lumMod val="75000"/>
            </a:schemeClr>
          </a:solidFill>
        </a:ln>
      </a:spPr>
      <a:bodyPr rtlCol="0" anchor="ctr"/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buClr>
            <a:schemeClr val="accent1"/>
          </a:buCl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Шаблон НОВАЯ ВЕРСИЯ 09_06.pptx" id="{DB04B42C-E94A-4B8B-8A5D-09E2449561C8}" vid="{EAAC69D8-665C-426A-8380-7899F709CAA9}"/>
    </a:ext>
  </a:extLst>
</a:theme>
</file>

<file path=ppt/theme/theme6.xml><?xml version="1.0" encoding="utf-8"?>
<a:theme xmlns:a="http://schemas.openxmlformats.org/drawingml/2006/main" name="Финальные слайды">
  <a:themeElements>
    <a:clrScheme name="МТС 202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0032"/>
      </a:accent1>
      <a:accent2>
        <a:srgbClr val="E983F3"/>
      </a:accent2>
      <a:accent3>
        <a:srgbClr val="5FCEFA"/>
      </a:accent3>
      <a:accent4>
        <a:srgbClr val="D8FEAF"/>
      </a:accent4>
      <a:accent5>
        <a:srgbClr val="8E5BDD"/>
      </a:accent5>
      <a:accent6>
        <a:srgbClr val="807FF7"/>
      </a:accent6>
      <a:hlink>
        <a:srgbClr val="2C2DF2"/>
      </a:hlink>
      <a:folHlink>
        <a:srgbClr val="367CE1"/>
      </a:folHlink>
    </a:clrScheme>
    <a:fontScheme name="МТС 2023">
      <a:majorFont>
        <a:latin typeface="MTS Extended Medium"/>
        <a:ea typeface=""/>
        <a:cs typeface=""/>
      </a:majorFont>
      <a:minorFont>
        <a:latin typeface="MTS Tex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bg1">
              <a:lumMod val="75000"/>
            </a:schemeClr>
          </a:solidFill>
        </a:ln>
      </a:spPr>
      <a:bodyPr rtlCol="0" anchor="ctr"/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buClr>
            <a:schemeClr val="accent1"/>
          </a:buCl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Шаблон НОВАЯ ВЕРСИЯ 09_06.pptx" id="{DB04B42C-E94A-4B8B-8A5D-09E2449561C8}" vid="{B9FCBF45-8897-40CD-9AA9-9EF832BB6B29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992</TotalTime>
  <Words>541</Words>
  <Application>Microsoft Office PowerPoint</Application>
  <PresentationFormat>Широкоэкранный</PresentationFormat>
  <Paragraphs>74</Paragraphs>
  <Slides>4</Slides>
  <Notes>1</Notes>
  <HiddenSlides>0</HiddenSlides>
  <MMClips>0</MMClips>
  <ScaleCrop>false</ScaleCrop>
  <HeadingPairs>
    <vt:vector size="10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6</vt:i4>
      </vt:variant>
      <vt:variant>
        <vt:lpstr>Связи</vt:lpstr>
      </vt:variant>
      <vt:variant>
        <vt:i4>3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4</vt:i4>
      </vt:variant>
    </vt:vector>
  </HeadingPairs>
  <TitlesOfParts>
    <vt:vector size="19" baseType="lpstr">
      <vt:lpstr>Arial</vt:lpstr>
      <vt:lpstr>Calibri</vt:lpstr>
      <vt:lpstr>MTS Extended Medium</vt:lpstr>
      <vt:lpstr>MTS Text</vt:lpstr>
      <vt:lpstr>Титульники</vt:lpstr>
      <vt:lpstr>Шмуцтитул</vt:lpstr>
      <vt:lpstr>Контентные слайды</vt:lpstr>
      <vt:lpstr>Слайды со спикером и командой</vt:lpstr>
      <vt:lpstr>Слайды с цитатой</vt:lpstr>
      <vt:lpstr>Финальные слайды</vt:lpstr>
      <vt:lpstr>C:\Users\sypechniko\AppData\Local\Microsoft\Windows\INetCache\Content.Outlook\UD2EM2CY\???</vt:lpstr>
      <vt:lpstr>C:\Users\sypechniko\Desktop\задачи dwh\products.csv</vt:lpstr>
      <vt:lpstr>C:\Users\sypechniko\Downloads\StudentsPerformanceFinal.xlsx</vt:lpstr>
      <vt:lpstr>Слайд think-cell</vt:lpstr>
      <vt:lpstr>Worksheet</vt:lpstr>
      <vt:lpstr>Hard skills</vt:lpstr>
      <vt:lpstr>Описание данных:</vt:lpstr>
      <vt:lpstr>Описание данных:</vt:lpstr>
      <vt:lpstr>Описание данных: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Шаблон  презентаций</dc:title>
  <dc:creator>8325</dc:creator>
  <cp:lastModifiedBy>Печников Сергей</cp:lastModifiedBy>
  <cp:revision>320</cp:revision>
  <dcterms:created xsi:type="dcterms:W3CDTF">2023-03-14T09:22:12Z</dcterms:created>
  <dcterms:modified xsi:type="dcterms:W3CDTF">2024-05-20T11:42:15Z</dcterms:modified>
</cp:coreProperties>
</file>